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37.xml" ContentType="application/vnd.openxmlformats-officedocument.drawingml.chart+xml"/>
  <Override PartName="/ppt/charts/chart38.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43.xml" ContentType="application/vnd.openxmlformats-officedocument.drawingml.chart+xml"/>
  <Override PartName="/ppt/charts/chart44.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49.xml" ContentType="application/vnd.openxmlformats-officedocument.drawingml.chart+xml"/>
  <Override PartName="/ppt/charts/chart50.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55.xml" ContentType="application/vnd.openxmlformats-officedocument.drawingml.chart+xml"/>
  <Override PartName="/ppt/charts/chart56.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67.xml" ContentType="application/vnd.openxmlformats-officedocument.drawingml.chart+xml"/>
  <Override PartName="/ppt/charts/chart68.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73.xml" ContentType="application/vnd.openxmlformats-officedocument.drawingml.chart+xml"/>
  <Override PartName="/ppt/charts/chart74.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79.xml" ContentType="application/vnd.openxmlformats-officedocument.drawingml.chart+xml"/>
  <Override PartName="/ppt/charts/chart80.xml" ContentType="application/vnd.openxmlformats-officedocument.drawingml.chart+xml"/>
  <Override PartName="/ppt/tags/tag55.xml" ContentType="application/vnd.openxmlformats-officedocument.presentationml.tags+xml"/>
  <Override PartName="/ppt/notesSlides/notesSlide28.xml" ContentType="application/vnd.openxmlformats-officedocument.presentationml.notesSlide+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notesSlides/notesSlide29.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tags/tag57.xml" ContentType="application/vnd.openxmlformats-officedocument.presentationml.tags+xml"/>
  <Override PartName="/ppt/notesSlides/notesSlide30.xml" ContentType="application/vnd.openxmlformats-officedocument.presentationml.notesSlide+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notesSlides/notesSlide31.xml" ContentType="application/vnd.openxmlformats-officedocument.presentationml.notesSlide+xml"/>
  <Override PartName="/ppt/charts/chart91.xml" ContentType="application/vnd.openxmlformats-officedocument.drawingml.chart+xml"/>
  <Override PartName="/ppt/charts/chart92.xml" ContentType="application/vnd.openxmlformats-officedocument.drawingml.chart+xml"/>
  <Override PartName="/ppt/tags/tag59.xml" ContentType="application/vnd.openxmlformats-officedocument.presentationml.tags+xml"/>
  <Override PartName="/ppt/notesSlides/notesSlide32.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notesSlides/notesSlide33.xml" ContentType="application/vnd.openxmlformats-officedocument.presentationml.notesSlide+xml"/>
  <Override PartName="/ppt/charts/chart97.xml" ContentType="application/vnd.openxmlformats-officedocument.drawingml.chart+xml"/>
  <Override PartName="/ppt/charts/chart98.xml" ContentType="application/vnd.openxmlformats-officedocument.drawingml.chart+xml"/>
  <Override PartName="/ppt/tags/tag61.xml" ContentType="application/vnd.openxmlformats-officedocument.presentationml.tags+xml"/>
  <Override PartName="/ppt/notesSlides/notesSlide34.xml" ContentType="application/vnd.openxmlformats-officedocument.presentationml.notesSlide+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notesSlides/notesSlide35.xml" ContentType="application/vnd.openxmlformats-officedocument.presentationml.notesSlide+xml"/>
  <Override PartName="/ppt/charts/chart103.xml" ContentType="application/vnd.openxmlformats-officedocument.drawingml.chart+xml"/>
  <Override PartName="/ppt/charts/chart104.xml" ContentType="application/vnd.openxmlformats-officedocument.drawingml.chart+xml"/>
  <Override PartName="/ppt/tags/tag63.xml" ContentType="application/vnd.openxmlformats-officedocument.presentationml.tags+xml"/>
  <Override PartName="/ppt/notesSlides/notesSlide36.xml" ContentType="application/vnd.openxmlformats-officedocument.presentationml.notesSlide+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64.xml" ContentType="application/vnd.openxmlformats-officedocument.presentationml.tags+xml"/>
  <Override PartName="/ppt/notesSlides/notesSlide37.xml" ContentType="application/vnd.openxmlformats-officedocument.presentationml.notesSlide+xml"/>
  <Override PartName="/ppt/charts/chart109.xml" ContentType="application/vnd.openxmlformats-officedocument.drawingml.chart+xml"/>
  <Override PartName="/ppt/charts/chart110.xml" ContentType="application/vnd.openxmlformats-officedocument.drawingml.chart+xml"/>
  <Override PartName="/ppt/tags/tag65.xml" ContentType="application/vnd.openxmlformats-officedocument.presentationml.tags+xml"/>
  <Override PartName="/ppt/notesSlides/notesSlide38.xml" ContentType="application/vnd.openxmlformats-officedocument.presentationml.notesSlide+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tags/tag66.xml" ContentType="application/vnd.openxmlformats-officedocument.presentationml.tags+xml"/>
  <Override PartName="/ppt/notesSlides/notesSlide39.xml" ContentType="application/vnd.openxmlformats-officedocument.presentationml.notesSlide+xml"/>
  <Override PartName="/ppt/charts/chart115.xml" ContentType="application/vnd.openxmlformats-officedocument.drawingml.chart+xml"/>
  <Override PartName="/ppt/charts/chart116.xml" ContentType="application/vnd.openxmlformats-officedocument.drawingml.chart+xml"/>
  <Override PartName="/ppt/tags/tag67.xml" ContentType="application/vnd.openxmlformats-officedocument.presentationml.tags+xml"/>
  <Override PartName="/ppt/notesSlides/notesSlide40.xml" ContentType="application/vnd.openxmlformats-officedocument.presentationml.notesSlide+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68.xml" ContentType="application/vnd.openxmlformats-officedocument.presentationml.tags+xml"/>
  <Override PartName="/ppt/notesSlides/notesSlide41.xml" ContentType="application/vnd.openxmlformats-officedocument.presentationml.notesSlide+xml"/>
  <Override PartName="/ppt/charts/chart121.xml" ContentType="application/vnd.openxmlformats-officedocument.drawingml.chart+xml"/>
  <Override PartName="/ppt/charts/chart122.xml" ContentType="application/vnd.openxmlformats-officedocument.drawingml.chart+xml"/>
  <Override PartName="/ppt/tags/tag69.xml" ContentType="application/vnd.openxmlformats-officedocument.presentationml.tags+xml"/>
  <Override PartName="/ppt/notesSlides/notesSlide42.xml" ContentType="application/vnd.openxmlformats-officedocument.presentationml.notesSlide+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0.xml" ContentType="application/vnd.openxmlformats-officedocument.presentationml.tags+xml"/>
  <Override PartName="/ppt/notesSlides/notesSlide43.xml" ContentType="application/vnd.openxmlformats-officedocument.presentationml.notesSlide+xml"/>
  <Override PartName="/ppt/charts/chart127.xml" ContentType="application/vnd.openxmlformats-officedocument.drawingml.chart+xml"/>
  <Override PartName="/ppt/charts/chart128.xml" ContentType="application/vnd.openxmlformats-officedocument.drawingml.chart+xml"/>
  <Override PartName="/ppt/tags/tag71.xml" ContentType="application/vnd.openxmlformats-officedocument.presentationml.tags+xml"/>
  <Override PartName="/ppt/notesSlides/notesSlide44.xml" ContentType="application/vnd.openxmlformats-officedocument.presentationml.notesSlide+xml"/>
  <Override PartName="/ppt/charts/chart129.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72.xml" ContentType="application/vnd.openxmlformats-officedocument.presentationml.tags+xml"/>
  <Override PartName="/ppt/notesSlides/notesSlide45.xml" ContentType="application/vnd.openxmlformats-officedocument.presentationml.notesSlide+xml"/>
  <Override PartName="/ppt/charts/chart133.xml" ContentType="application/vnd.openxmlformats-officedocument.drawingml.chart+xml"/>
  <Override PartName="/ppt/charts/chart134.xml" ContentType="application/vnd.openxmlformats-officedocument.drawingml.chart+xml"/>
  <Override PartName="/ppt/tags/tag73.xml" ContentType="application/vnd.openxmlformats-officedocument.presentationml.tags+xml"/>
  <Override PartName="/ppt/notesSlides/notesSlide46.xml" ContentType="application/vnd.openxmlformats-officedocument.presentationml.notesSlide+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tags/tag74.xml" ContentType="application/vnd.openxmlformats-officedocument.presentationml.tags+xml"/>
  <Override PartName="/ppt/notesSlides/notesSlide47.xml" ContentType="application/vnd.openxmlformats-officedocument.presentationml.notesSlide+xml"/>
  <Override PartName="/ppt/charts/chart139.xml" ContentType="application/vnd.openxmlformats-officedocument.drawingml.chart+xml"/>
  <Override PartName="/ppt/charts/chart140.xml" ContentType="application/vnd.openxmlformats-officedocument.drawingml.chart+xml"/>
  <Override PartName="/ppt/tags/tag75.xml" ContentType="application/vnd.openxmlformats-officedocument.presentationml.tags+xml"/>
  <Override PartName="/ppt/notesSlides/notesSlide48.xml" ContentType="application/vnd.openxmlformats-officedocument.presentationml.notesSlide+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76.xml" ContentType="application/vnd.openxmlformats-officedocument.presentationml.tags+xml"/>
  <Override PartName="/ppt/notesSlides/notesSlide49.xml" ContentType="application/vnd.openxmlformats-officedocument.presentationml.notesSlide+xml"/>
  <Override PartName="/ppt/charts/chart145.xml" ContentType="application/vnd.openxmlformats-officedocument.drawingml.chart+xml"/>
  <Override PartName="/ppt/charts/chart146.xml" ContentType="application/vnd.openxmlformats-officedocument.drawingml.chart+xml"/>
  <Override PartName="/ppt/tags/tag77.xml" ContentType="application/vnd.openxmlformats-officedocument.presentationml.tags+xml"/>
  <Override PartName="/ppt/notesSlides/notesSlide50.xml" ContentType="application/vnd.openxmlformats-officedocument.presentationml.notesSlide+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tags/tag78.xml" ContentType="application/vnd.openxmlformats-officedocument.presentationml.tags+xml"/>
  <Override PartName="/ppt/notesSlides/notesSlide51.xml" ContentType="application/vnd.openxmlformats-officedocument.presentationml.notesSlide+xml"/>
  <Override PartName="/ppt/charts/chart151.xml" ContentType="application/vnd.openxmlformats-officedocument.drawingml.chart+xml"/>
  <Override PartName="/ppt/charts/chart152.xml" ContentType="application/vnd.openxmlformats-officedocument.drawingml.chart+xml"/>
  <Override PartName="/ppt/tags/tag79.xml" ContentType="application/vnd.openxmlformats-officedocument.presentationml.tags+xml"/>
  <Override PartName="/ppt/notesSlides/notesSlide52.xml" ContentType="application/vnd.openxmlformats-officedocument.presentationml.notesSlide+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80.xml" ContentType="application/vnd.openxmlformats-officedocument.presentationml.tags+xml"/>
  <Override PartName="/ppt/notesSlides/notesSlide53.xml" ContentType="application/vnd.openxmlformats-officedocument.presentationml.notesSlide+xml"/>
  <Override PartName="/ppt/charts/chart157.xml" ContentType="application/vnd.openxmlformats-officedocument.drawingml.chart+xml"/>
  <Override PartName="/ppt/charts/chart158.xml" ContentType="application/vnd.openxmlformats-officedocument.drawingml.chart+xml"/>
  <Override PartName="/ppt/tags/tag81.xml" ContentType="application/vnd.openxmlformats-officedocument.presentationml.tags+xml"/>
  <Override PartName="/ppt/notesSlides/notesSlide54.xml" ContentType="application/vnd.openxmlformats-officedocument.presentationml.notesSlide+xml"/>
  <Override PartName="/ppt/charts/chart159.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tags/tag82.xml" ContentType="application/vnd.openxmlformats-officedocument.presentationml.tags+xml"/>
  <Override PartName="/ppt/notesSlides/notesSlide55.xml" ContentType="application/vnd.openxmlformats-officedocument.presentationml.notesSlide+xml"/>
  <Override PartName="/ppt/charts/chart163.xml" ContentType="application/vnd.openxmlformats-officedocument.drawingml.chart+xml"/>
  <Override PartName="/ppt/charts/chart164.xml" ContentType="application/vnd.openxmlformats-officedocument.drawingml.chart+xml"/>
  <Override PartName="/ppt/tags/tag83.xml" ContentType="application/vnd.openxmlformats-officedocument.presentationml.tags+xml"/>
  <Override PartName="/ppt/notesSlides/notesSlide56.xml" ContentType="application/vnd.openxmlformats-officedocument.presentationml.notesSlide+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84.xml" ContentType="application/vnd.openxmlformats-officedocument.presentationml.tags+xml"/>
  <Override PartName="/ppt/notesSlides/notesSlide57.xml" ContentType="application/vnd.openxmlformats-officedocument.presentationml.notesSlide+xml"/>
  <Override PartName="/ppt/charts/chart169.xml" ContentType="application/vnd.openxmlformats-officedocument.drawingml.chart+xml"/>
  <Override PartName="/ppt/charts/chart170.xml" ContentType="application/vnd.openxmlformats-officedocument.drawingml.chart+xml"/>
  <Override PartName="/ppt/tags/tag85.xml" ContentType="application/vnd.openxmlformats-officedocument.presentationml.tags+xml"/>
  <Override PartName="/ppt/notesSlides/notesSlide58.xml" ContentType="application/vnd.openxmlformats-officedocument.presentationml.notesSlide+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tags/tag86.xml" ContentType="application/vnd.openxmlformats-officedocument.presentationml.tags+xml"/>
  <Override PartName="/ppt/notesSlides/notesSlide59.xml" ContentType="application/vnd.openxmlformats-officedocument.presentationml.notesSlide+xml"/>
  <Override PartName="/ppt/charts/chart175.xml" ContentType="application/vnd.openxmlformats-officedocument.drawingml.chart+xml"/>
  <Override PartName="/ppt/charts/chart176.xml" ContentType="application/vnd.openxmlformats-officedocument.drawingml.chart+xml"/>
  <Override PartName="/ppt/tags/tag87.xml" ContentType="application/vnd.openxmlformats-officedocument.presentationml.tags+xml"/>
  <Override PartName="/ppt/notesSlides/notesSlide60.xml" ContentType="application/vnd.openxmlformats-officedocument.presentationml.notesSlide+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tags/tag88.xml" ContentType="application/vnd.openxmlformats-officedocument.presentationml.tags+xml"/>
  <Override PartName="/ppt/notesSlides/notesSlide61.xml" ContentType="application/vnd.openxmlformats-officedocument.presentationml.notesSlide+xml"/>
  <Override PartName="/ppt/charts/chart181.xml" ContentType="application/vnd.openxmlformats-officedocument.drawingml.chart+xml"/>
  <Override PartName="/ppt/charts/chart182.xml" ContentType="application/vnd.openxmlformats-officedocument.drawingml.chart+xml"/>
  <Override PartName="/ppt/tags/tag89.xml" ContentType="application/vnd.openxmlformats-officedocument.presentationml.tags+xml"/>
  <Override PartName="/ppt/notesSlides/notesSlide62.xml" ContentType="application/vnd.openxmlformats-officedocument.presentationml.notesSlide+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tags/tag90.xml" ContentType="application/vnd.openxmlformats-officedocument.presentationml.tags+xml"/>
  <Override PartName="/ppt/notesSlides/notesSlide63.xml" ContentType="application/vnd.openxmlformats-officedocument.presentationml.notesSlide+xml"/>
  <Override PartName="/ppt/charts/chart187.xml" ContentType="application/vnd.openxmlformats-officedocument.drawingml.chart+xml"/>
  <Override PartName="/ppt/charts/chart188.xml" ContentType="application/vnd.openxmlformats-officedocument.drawingml.chart+xml"/>
  <Override PartName="/ppt/tags/tag91.xml" ContentType="application/vnd.openxmlformats-officedocument.presentationml.tags+xml"/>
  <Override PartName="/ppt/notesSlides/notesSlide64.xml" ContentType="application/vnd.openxmlformats-officedocument.presentationml.notesSlide+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92.xml" ContentType="application/vnd.openxmlformats-officedocument.presentationml.tags+xml"/>
  <Override PartName="/ppt/notesSlides/notesSlide65.xml" ContentType="application/vnd.openxmlformats-officedocument.presentationml.notesSlide+xml"/>
  <Override PartName="/ppt/charts/chart193.xml" ContentType="application/vnd.openxmlformats-officedocument.drawingml.chart+xml"/>
  <Override PartName="/ppt/charts/chart194.xml" ContentType="application/vnd.openxmlformats-officedocument.drawingml.chart+xml"/>
  <Override PartName="/ppt/tags/tag93.xml" ContentType="application/vnd.openxmlformats-officedocument.presentationml.tags+xml"/>
  <Override PartName="/ppt/notesSlides/notesSlide66.xml" ContentType="application/vnd.openxmlformats-officedocument.presentationml.notesSlide+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7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Retailer By Category" id="{1A0F8FC0-F11D-4714-98C1-4DA4020A6186}">
          <p14:sldIdLst>
            <p14:sldId id="2147475173"/>
            <p14:sldId id="2147475174"/>
            <p14:sldId id="2147475175"/>
            <p14:sldId id="2147475176"/>
            <p14:sldId id="2147475177"/>
            <p14:sldId id="2147475178"/>
          </p14:sldIdLst>
        </p14:section>
        <p14:section name="Brackets By Retailer By Sector" id="{56915146-9F10-44A1-9477-33A89227F18F}">
          <p14:sldIdLst>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Lst>
        </p14:section>
        <p14:section name="Brackets By Retailer By Segment" id="{0CD91085-B158-46F6-A8AA-A0468885CA47}">
          <p14:sldIdLst>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microsoft.com/office/2018/10/relationships/authors" Target="author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microsoft.com/office/2015/10/relationships/revisionInfo" Target="revisionInfo.xml"/><Relationship Id="rId7" Type="http://schemas.openxmlformats.org/officeDocument/2006/relationships/slide" Target="slides/slide3.xml"/><Relationship Id="rId71"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2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8797801642155176E-2</c:v>
                </c:pt>
                <c:pt idx="1">
                  <c:v>1.5499323616429531E-2</c:v>
                </c:pt>
                <c:pt idx="2">
                  <c:v>2.0328229017232035E-2</c:v>
                </c:pt>
                <c:pt idx="3">
                  <c:v>4.4263789690257418E-2</c:v>
                </c:pt>
                <c:pt idx="4">
                  <c:v>6.5094507892549974E-2</c:v>
                </c:pt>
                <c:pt idx="5">
                  <c:v>0.10204826864942469</c:v>
                </c:pt>
                <c:pt idx="6">
                  <c:v>0.12638325694294628</c:v>
                </c:pt>
                <c:pt idx="7">
                  <c:v>0.17605578638733341</c:v>
                </c:pt>
                <c:pt idx="8">
                  <c:v>0.25472703021903487</c:v>
                </c:pt>
                <c:pt idx="9">
                  <c:v>9.8964213929595687E-2</c:v>
                </c:pt>
                <c:pt idx="10">
                  <c:v>7.783779201304100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1.5979041231933649E-2</c:v>
                </c:pt>
                <c:pt idx="4">
                  <c:v>3.917576852268922E-3</c:v>
                </c:pt>
                <c:pt idx="5">
                  <c:v>5.4622746820334241E-3</c:v>
                </c:pt>
                <c:pt idx="6">
                  <c:v>2.7437736051859835E-3</c:v>
                </c:pt>
                <c:pt idx="7">
                  <c:v>6.3472823685013615E-3</c:v>
                </c:pt>
                <c:pt idx="8">
                  <c:v>1.9746707894388021E-3</c:v>
                </c:pt>
                <c:pt idx="9">
                  <c:v>1.771215959166699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150705379299439E-2</c:v>
                </c:pt>
                <c:pt idx="1">
                  <c:v>9.0902853088647602E-3</c:v>
                </c:pt>
                <c:pt idx="2">
                  <c:v>1.6253323699152004E-2</c:v>
                </c:pt>
                <c:pt idx="3">
                  <c:v>1.2374473445219698E-2</c:v>
                </c:pt>
                <c:pt idx="4">
                  <c:v>5.2044058253641882E-2</c:v>
                </c:pt>
                <c:pt idx="5">
                  <c:v>9.1526042103984434E-2</c:v>
                </c:pt>
                <c:pt idx="6">
                  <c:v>0.20203294286153259</c:v>
                </c:pt>
                <c:pt idx="7">
                  <c:v>0.15911147347283777</c:v>
                </c:pt>
                <c:pt idx="8">
                  <c:v>0.36684529217071971</c:v>
                </c:pt>
                <c:pt idx="9">
                  <c:v>7.9215054891052752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229236969787683E-2</c:v>
                </c:pt>
                <c:pt idx="1">
                  <c:v>3.4208146091019583E-2</c:v>
                </c:pt>
                <c:pt idx="2">
                  <c:v>4.638899137720838E-2</c:v>
                </c:pt>
                <c:pt idx="3">
                  <c:v>4.236303860922852E-2</c:v>
                </c:pt>
                <c:pt idx="4">
                  <c:v>7.3599001227352384E-2</c:v>
                </c:pt>
                <c:pt idx="5">
                  <c:v>0.21666215265832334</c:v>
                </c:pt>
                <c:pt idx="6">
                  <c:v>0.35850197330543981</c:v>
                </c:pt>
                <c:pt idx="7">
                  <c:v>0.11680761238296965</c:v>
                </c:pt>
                <c:pt idx="8">
                  <c:v>4.7250813869102577E-2</c:v>
                </c:pt>
                <c:pt idx="9">
                  <c:v>2.298885181058734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3220514636903894E-2</c:v>
                </c:pt>
                <c:pt idx="1">
                  <c:v>1.2441037528871992E-2</c:v>
                </c:pt>
                <c:pt idx="2">
                  <c:v>8.7624574801509106E-2</c:v>
                </c:pt>
                <c:pt idx="3">
                  <c:v>3.0282854374379737E-2</c:v>
                </c:pt>
                <c:pt idx="4">
                  <c:v>0.14027776593737548</c:v>
                </c:pt>
                <c:pt idx="5">
                  <c:v>0.28950622024873895</c:v>
                </c:pt>
                <c:pt idx="6">
                  <c:v>0.21798642705429877</c:v>
                </c:pt>
                <c:pt idx="7">
                  <c:v>5.6581598744397013E-2</c:v>
                </c:pt>
                <c:pt idx="8">
                  <c:v>9.882715982471646E-2</c:v>
                </c:pt>
                <c:pt idx="9">
                  <c:v>1.325184684880861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1847693416567174E-2</c:v>
                </c:pt>
                <c:pt idx="1">
                  <c:v>8.6420771688770298E-2</c:v>
                </c:pt>
                <c:pt idx="2">
                  <c:v>1.497950272481768E-2</c:v>
                </c:pt>
                <c:pt idx="3">
                  <c:v>3.8435745481682639E-2</c:v>
                </c:pt>
                <c:pt idx="4">
                  <c:v>9.2213614362690738E-2</c:v>
                </c:pt>
                <c:pt idx="5">
                  <c:v>0.23543198442819935</c:v>
                </c:pt>
                <c:pt idx="6">
                  <c:v>0.18117729862300258</c:v>
                </c:pt>
                <c:pt idx="7">
                  <c:v>0.20368518910803779</c:v>
                </c:pt>
                <c:pt idx="8">
                  <c:v>9.7217979514334779E-2</c:v>
                </c:pt>
                <c:pt idx="9">
                  <c:v>2.859022065189690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5466252732939898E-2</c:v>
                </c:pt>
                <c:pt idx="1">
                  <c:v>9.9224733000987369E-3</c:v>
                </c:pt>
                <c:pt idx="2">
                  <c:v>1.6234090341292841E-2</c:v>
                </c:pt>
                <c:pt idx="3">
                  <c:v>7.892262515697393E-2</c:v>
                </c:pt>
                <c:pt idx="4">
                  <c:v>6.1134484543004734E-2</c:v>
                </c:pt>
                <c:pt idx="5">
                  <c:v>0.11702285157285876</c:v>
                </c:pt>
                <c:pt idx="6">
                  <c:v>0.12607050273798581</c:v>
                </c:pt>
                <c:pt idx="7">
                  <c:v>0.17930534937108047</c:v>
                </c:pt>
                <c:pt idx="8">
                  <c:v>0.228569980379285</c:v>
                </c:pt>
                <c:pt idx="9">
                  <c:v>0.10314664132259939</c:v>
                </c:pt>
                <c:pt idx="10">
                  <c:v>6.4204748541880435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8452095700271858E-2</c:v>
                </c:pt>
                <c:pt idx="1">
                  <c:v>6.9038415366902443E-3</c:v>
                </c:pt>
                <c:pt idx="2">
                  <c:v>3.8993138108884502E-2</c:v>
                </c:pt>
                <c:pt idx="3">
                  <c:v>9.2885754275378318E-2</c:v>
                </c:pt>
                <c:pt idx="4">
                  <c:v>0.12661389106941554</c:v>
                </c:pt>
                <c:pt idx="5">
                  <c:v>0.14139828617238459</c:v>
                </c:pt>
                <c:pt idx="6">
                  <c:v>8.327672553420401E-2</c:v>
                </c:pt>
                <c:pt idx="7">
                  <c:v>0.25943750265456544</c:v>
                </c:pt>
                <c:pt idx="8">
                  <c:v>0.16769832304927204</c:v>
                </c:pt>
                <c:pt idx="9">
                  <c:v>5.0813195599909045E-2</c:v>
                </c:pt>
                <c:pt idx="10">
                  <c:v>3.5272462990244605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8.2060798596221757E-2</c:v>
                </c:pt>
                <c:pt idx="4">
                  <c:v>1.3735802625934962E-2</c:v>
                </c:pt>
                <c:pt idx="5">
                  <c:v>6.1588706809217263E-2</c:v>
                </c:pt>
                <c:pt idx="6">
                  <c:v>2.3195070431785789E-2</c:v>
                </c:pt>
                <c:pt idx="7">
                  <c:v>5.9000565638160689E-2</c:v>
                </c:pt>
                <c:pt idx="8">
                  <c:v>2.4630784631086092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8613377585847987E-2</c:v>
                </c:pt>
                <c:pt idx="1">
                  <c:v>1.56302030123537E-2</c:v>
                </c:pt>
                <c:pt idx="2">
                  <c:v>3.5294981321742719E-2</c:v>
                </c:pt>
                <c:pt idx="3">
                  <c:v>0.17153808610810198</c:v>
                </c:pt>
                <c:pt idx="4">
                  <c:v>0.13353047605469773</c:v>
                </c:pt>
                <c:pt idx="5">
                  <c:v>0.12917153792881839</c:v>
                </c:pt>
                <c:pt idx="6">
                  <c:v>7.2507313656684891E-2</c:v>
                </c:pt>
                <c:pt idx="7">
                  <c:v>0.21110141717184974</c:v>
                </c:pt>
                <c:pt idx="8">
                  <c:v>0.1733531988133058</c:v>
                </c:pt>
                <c:pt idx="9">
                  <c:v>1.9940538619508948E-2</c:v>
                </c:pt>
                <c:pt idx="10">
                  <c:v>9.3188697270881003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0.13356059179014013</c:v>
                </c:pt>
                <c:pt idx="4">
                  <c:v>3.2745011116607166E-2</c:v>
                </c:pt>
                <c:pt idx="5">
                  <c:v>4.5656346239016515E-2</c:v>
                </c:pt>
                <c:pt idx="6">
                  <c:v>2.2933793156152984E-2</c:v>
                </c:pt>
                <c:pt idx="7">
                  <c:v>5.3053670560782258E-2</c:v>
                </c:pt>
                <c:pt idx="8">
                  <c:v>1.6505258068993306E-2</c:v>
                </c:pt>
                <c:pt idx="9">
                  <c:v>1.4804683726685523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9437627523840919E-2</c:v>
                </c:pt>
                <c:pt idx="1">
                  <c:v>1.7339094554510329E-2</c:v>
                </c:pt>
                <c:pt idx="2">
                  <c:v>4.8088716519655232E-2</c:v>
                </c:pt>
                <c:pt idx="3">
                  <c:v>0.20562364600569663</c:v>
                </c:pt>
                <c:pt idx="4">
                  <c:v>6.6748547419724566E-2</c:v>
                </c:pt>
                <c:pt idx="5">
                  <c:v>0.12200576981432011</c:v>
                </c:pt>
                <c:pt idx="6">
                  <c:v>4.6184937163428488E-2</c:v>
                </c:pt>
                <c:pt idx="7">
                  <c:v>0.2232454479683828</c:v>
                </c:pt>
                <c:pt idx="8">
                  <c:v>0.15135974545254935</c:v>
                </c:pt>
                <c:pt idx="9">
                  <c:v>8.959978013454500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1.9587585221478221E-3</c:v>
                </c:pt>
                <c:pt idx="3">
                  <c:v>9.8555095738221445E-3</c:v>
                </c:pt>
                <c:pt idx="4">
                  <c:v>5.7194093823087827E-3</c:v>
                </c:pt>
                <c:pt idx="5">
                  <c:v>4.3375085652270651E-3</c:v>
                </c:pt>
                <c:pt idx="6">
                  <c:v>1.3018803595844597E-3</c:v>
                </c:pt>
                <c:pt idx="7">
                  <c:v>1.1278574549747292E-2</c:v>
                </c:pt>
                <c:pt idx="8">
                  <c:v>1.7463101519809695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9433076220715705E-3</c:v>
                </c:pt>
                <c:pt idx="2">
                  <c:v>1.5808316239147732E-2</c:v>
                </c:pt>
                <c:pt idx="3">
                  <c:v>7.9539672848540577E-2</c:v>
                </c:pt>
                <c:pt idx="4">
                  <c:v>4.6158947718345923E-2</c:v>
                </c:pt>
                <c:pt idx="5">
                  <c:v>3.5006207408320195E-2</c:v>
                </c:pt>
                <c:pt idx="6">
                  <c:v>1.0506928851688921E-2</c:v>
                </c:pt>
                <c:pt idx="7">
                  <c:v>9.1024631772222628E-2</c:v>
                </c:pt>
                <c:pt idx="8">
                  <c:v>1.4093734792729056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1.4769469987927959E-2</c:v>
                </c:pt>
                <c:pt idx="2">
                  <c:v>2.3174585769354574E-3</c:v>
                </c:pt>
                <c:pt idx="3">
                  <c:v>5.4889164840494477E-2</c:v>
                </c:pt>
                <c:pt idx="4">
                  <c:v>2.1417116059667604E-2</c:v>
                </c:pt>
                <c:pt idx="5">
                  <c:v>5.4954785824171536E-2</c:v>
                </c:pt>
                <c:pt idx="6">
                  <c:v>0.14927955263464021</c:v>
                </c:pt>
                <c:pt idx="7">
                  <c:v>0.13229106377391031</c:v>
                </c:pt>
                <c:pt idx="8">
                  <c:v>0.31299472077907142</c:v>
                </c:pt>
                <c:pt idx="9">
                  <c:v>0.14351243301228028</c:v>
                </c:pt>
                <c:pt idx="10">
                  <c:v>0.1132490185854586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0921024996954196E-3</c:v>
                </c:pt>
                <c:pt idx="1">
                  <c:v>2.2013794513369753E-2</c:v>
                </c:pt>
                <c:pt idx="2">
                  <c:v>6.0164729451450899E-3</c:v>
                </c:pt>
                <c:pt idx="3">
                  <c:v>5.9948371208162959E-2</c:v>
                </c:pt>
                <c:pt idx="4">
                  <c:v>2.3502461461467141E-2</c:v>
                </c:pt>
                <c:pt idx="5">
                  <c:v>7.9254515665220515E-2</c:v>
                </c:pt>
                <c:pt idx="6">
                  <c:v>0.10057809753875298</c:v>
                </c:pt>
                <c:pt idx="7">
                  <c:v>0.25267661121730906</c:v>
                </c:pt>
                <c:pt idx="8">
                  <c:v>0.2504997063205352</c:v>
                </c:pt>
                <c:pt idx="9">
                  <c:v>0.15719468225499186</c:v>
                </c:pt>
                <c:pt idx="10">
                  <c:v>4.722318437535000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4.4185496993801796E-3</c:v>
                </c:pt>
                <c:pt idx="2">
                  <c:v>5.8867511383563064E-3</c:v>
                </c:pt>
                <c:pt idx="3">
                  <c:v>7.5681685289260239E-2</c:v>
                </c:pt>
                <c:pt idx="4">
                  <c:v>2.5426936831280101E-2</c:v>
                </c:pt>
                <c:pt idx="5">
                  <c:v>9.4771840334443316E-2</c:v>
                </c:pt>
                <c:pt idx="6">
                  <c:v>0.12889598069765412</c:v>
                </c:pt>
                <c:pt idx="7">
                  <c:v>0.13425471229470909</c:v>
                </c:pt>
                <c:pt idx="8">
                  <c:v>0.32909591222530005</c:v>
                </c:pt>
                <c:pt idx="9">
                  <c:v>0.10836522028352405</c:v>
                </c:pt>
                <c:pt idx="10">
                  <c:v>9.2817697572310995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4184151077648034E-3</c:v>
                </c:pt>
                <c:pt idx="1">
                  <c:v>1.2433173216472356E-2</c:v>
                </c:pt>
                <c:pt idx="2">
                  <c:v>1.6653419563341498E-2</c:v>
                </c:pt>
                <c:pt idx="3">
                  <c:v>4.528856379315839E-2</c:v>
                </c:pt>
                <c:pt idx="4">
                  <c:v>6.0469880502980883E-2</c:v>
                </c:pt>
                <c:pt idx="5">
                  <c:v>6.8046692315063287E-2</c:v>
                </c:pt>
                <c:pt idx="6">
                  <c:v>0.10564996279910281</c:v>
                </c:pt>
                <c:pt idx="7">
                  <c:v>0.20914003576282761</c:v>
                </c:pt>
                <c:pt idx="8">
                  <c:v>0.18189208301942128</c:v>
                </c:pt>
                <c:pt idx="9">
                  <c:v>5.0891551137366327E-2</c:v>
                </c:pt>
                <c:pt idx="10">
                  <c:v>0.2431162227825007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2664777716174216E-2</c:v>
                </c:pt>
                <c:pt idx="1">
                  <c:v>1.455215005945285E-2</c:v>
                </c:pt>
                <c:pt idx="2">
                  <c:v>3.1793157987583059E-2</c:v>
                </c:pt>
                <c:pt idx="3">
                  <c:v>4.8197250418922831E-2</c:v>
                </c:pt>
                <c:pt idx="4">
                  <c:v>3.6172401739128744E-2</c:v>
                </c:pt>
                <c:pt idx="5">
                  <c:v>0.10756737889583759</c:v>
                </c:pt>
                <c:pt idx="6">
                  <c:v>0.1437797360274827</c:v>
                </c:pt>
                <c:pt idx="7">
                  <c:v>0.16541094068946494</c:v>
                </c:pt>
                <c:pt idx="8">
                  <c:v>0.17248314445239338</c:v>
                </c:pt>
                <c:pt idx="9">
                  <c:v>0.20438488641867086</c:v>
                </c:pt>
                <c:pt idx="10">
                  <c:v>6.2994175594888818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8797801642155176E-2</c:v>
                </c:pt>
                <c:pt idx="1">
                  <c:v>1.5499323616429531E-2</c:v>
                </c:pt>
                <c:pt idx="2">
                  <c:v>2.0328229017232035E-2</c:v>
                </c:pt>
                <c:pt idx="3">
                  <c:v>4.4263789690257418E-2</c:v>
                </c:pt>
                <c:pt idx="4">
                  <c:v>6.5094507892549974E-2</c:v>
                </c:pt>
                <c:pt idx="5">
                  <c:v>0.10204826864942469</c:v>
                </c:pt>
                <c:pt idx="6">
                  <c:v>0.12638325694294628</c:v>
                </c:pt>
                <c:pt idx="7">
                  <c:v>0.17605578638733341</c:v>
                </c:pt>
                <c:pt idx="8">
                  <c:v>0.25472703021903487</c:v>
                </c:pt>
                <c:pt idx="9">
                  <c:v>9.8964213929595687E-2</c:v>
                </c:pt>
                <c:pt idx="10">
                  <c:v>7.783779201304100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233788397141476E-3</c:v>
                </c:pt>
                <c:pt idx="1">
                  <c:v>3.9175222582530523E-3</c:v>
                </c:pt>
                <c:pt idx="2">
                  <c:v>2.0573970079543279E-2</c:v>
                </c:pt>
                <c:pt idx="3">
                  <c:v>9.2174349105215783E-2</c:v>
                </c:pt>
                <c:pt idx="4">
                  <c:v>2.4063880146346323E-2</c:v>
                </c:pt>
                <c:pt idx="5">
                  <c:v>8.1603425497824275E-2</c:v>
                </c:pt>
                <c:pt idx="6">
                  <c:v>0.12296985512425648</c:v>
                </c:pt>
                <c:pt idx="7">
                  <c:v>0.20932020763186437</c:v>
                </c:pt>
                <c:pt idx="8">
                  <c:v>0.14848773889644468</c:v>
                </c:pt>
                <c:pt idx="9">
                  <c:v>0.13344545786542819</c:v>
                </c:pt>
                <c:pt idx="10">
                  <c:v>0.1593202145551093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233413980241707E-2</c:v>
                </c:pt>
                <c:pt idx="1">
                  <c:v>1.8516038253045788E-2</c:v>
                </c:pt>
                <c:pt idx="2">
                  <c:v>1.0825272627964894E-2</c:v>
                </c:pt>
                <c:pt idx="3">
                  <c:v>1.3085022230190355E-2</c:v>
                </c:pt>
                <c:pt idx="4">
                  <c:v>2.27156576849857E-2</c:v>
                </c:pt>
                <c:pt idx="5">
                  <c:v>0.15241475836441309</c:v>
                </c:pt>
                <c:pt idx="6">
                  <c:v>0.1326046133269137</c:v>
                </c:pt>
                <c:pt idx="7">
                  <c:v>0.14706949062230559</c:v>
                </c:pt>
                <c:pt idx="8">
                  <c:v>0.27489550926231998</c:v>
                </c:pt>
                <c:pt idx="9">
                  <c:v>0.18418147748810215</c:v>
                </c:pt>
                <c:pt idx="10">
                  <c:v>2.135802033734167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9772656352017654E-2</c:v>
                </c:pt>
                <c:pt idx="1">
                  <c:v>2.3212152827471175E-2</c:v>
                </c:pt>
                <c:pt idx="2">
                  <c:v>9.5276320472047864E-3</c:v>
                </c:pt>
                <c:pt idx="3">
                  <c:v>2.0834565919059692E-2</c:v>
                </c:pt>
                <c:pt idx="4">
                  <c:v>5.6280952496327266E-2</c:v>
                </c:pt>
                <c:pt idx="5">
                  <c:v>0.14858554007140798</c:v>
                </c:pt>
                <c:pt idx="6">
                  <c:v>0.13431405689832426</c:v>
                </c:pt>
                <c:pt idx="7">
                  <c:v>0.17459164325638371</c:v>
                </c:pt>
                <c:pt idx="8">
                  <c:v>0.24859878263049723</c:v>
                </c:pt>
                <c:pt idx="9">
                  <c:v>0.15784269013818414</c:v>
                </c:pt>
                <c:pt idx="10">
                  <c:v>6.4393273631220939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180570518301911E-2</c:v>
                </c:pt>
                <c:pt idx="1">
                  <c:v>7.1787501568152164E-3</c:v>
                </c:pt>
                <c:pt idx="2">
                  <c:v>7.4170086151862345E-3</c:v>
                </c:pt>
                <c:pt idx="3">
                  <c:v>1.2870735468148011E-2</c:v>
                </c:pt>
                <c:pt idx="4">
                  <c:v>6.6308669366560491E-2</c:v>
                </c:pt>
                <c:pt idx="5">
                  <c:v>0.16040717619239409</c:v>
                </c:pt>
                <c:pt idx="6">
                  <c:v>0.13239687151562307</c:v>
                </c:pt>
                <c:pt idx="7">
                  <c:v>0.17333995418547299</c:v>
                </c:pt>
                <c:pt idx="8">
                  <c:v>0.20746469137783646</c:v>
                </c:pt>
                <c:pt idx="9">
                  <c:v>0.13202397008973621</c:v>
                </c:pt>
                <c:pt idx="10">
                  <c:v>6.878646784920812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3951101757598065E-2</c:v>
                </c:pt>
                <c:pt idx="1">
                  <c:v>2.171650644987758E-2</c:v>
                </c:pt>
                <c:pt idx="2">
                  <c:v>4.1399587782975131E-2</c:v>
                </c:pt>
                <c:pt idx="3">
                  <c:v>2.1668009689674434E-2</c:v>
                </c:pt>
                <c:pt idx="4">
                  <c:v>5.2557201124251975E-2</c:v>
                </c:pt>
                <c:pt idx="5">
                  <c:v>6.3701696813512995E-2</c:v>
                </c:pt>
                <c:pt idx="6">
                  <c:v>0.13085829476746524</c:v>
                </c:pt>
                <c:pt idx="7">
                  <c:v>0.17790741654622319</c:v>
                </c:pt>
                <c:pt idx="8">
                  <c:v>0.38182493017031233</c:v>
                </c:pt>
                <c:pt idx="9">
                  <c:v>7.1585046101095867E-2</c:v>
                </c:pt>
                <c:pt idx="10">
                  <c:v>2.8302087970132738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5.046177697882767E-3</c:v>
                </c:pt>
                <c:pt idx="6">
                  <c:v>1.767732023351506E-3</c:v>
                </c:pt>
                <c:pt idx="7">
                  <c:v>3.4072045520624071E-3</c:v>
                </c:pt>
                <c:pt idx="8">
                  <c:v>1.011097879677797E-2</c:v>
                </c:pt>
                <c:pt idx="9">
                  <c:v>1.0393311528785402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6578369953938744E-2</c:v>
                </c:pt>
                <c:pt idx="1">
                  <c:v>3.9748049335277487E-2</c:v>
                </c:pt>
                <c:pt idx="2">
                  <c:v>3.6152583544337209E-2</c:v>
                </c:pt>
                <c:pt idx="3">
                  <c:v>2.5469849750860748E-2</c:v>
                </c:pt>
                <c:pt idx="4">
                  <c:v>6.4813880382745381E-2</c:v>
                </c:pt>
                <c:pt idx="5">
                  <c:v>8.5197700245182306E-2</c:v>
                </c:pt>
                <c:pt idx="6">
                  <c:v>0.17447621527054127</c:v>
                </c:pt>
                <c:pt idx="7">
                  <c:v>0.20259246306990594</c:v>
                </c:pt>
                <c:pt idx="8">
                  <c:v>0.20923515941614845</c:v>
                </c:pt>
                <c:pt idx="9">
                  <c:v>0.10072276476360653</c:v>
                </c:pt>
                <c:pt idx="10">
                  <c:v>5.0129642674558942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150705379299439E-2</c:v>
                </c:pt>
                <c:pt idx="1">
                  <c:v>9.0902853088647602E-3</c:v>
                </c:pt>
                <c:pt idx="2">
                  <c:v>1.6253323699152004E-2</c:v>
                </c:pt>
                <c:pt idx="3">
                  <c:v>1.2374473445219698E-2</c:v>
                </c:pt>
                <c:pt idx="4">
                  <c:v>5.2044058253641882E-2</c:v>
                </c:pt>
                <c:pt idx="5">
                  <c:v>9.1526042103984434E-2</c:v>
                </c:pt>
                <c:pt idx="6">
                  <c:v>0.20203294286153259</c:v>
                </c:pt>
                <c:pt idx="7">
                  <c:v>0.15911147347283777</c:v>
                </c:pt>
                <c:pt idx="8">
                  <c:v>0.36684529217071971</c:v>
                </c:pt>
                <c:pt idx="9">
                  <c:v>7.9215054891052752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229236969787683E-2</c:v>
                </c:pt>
                <c:pt idx="1">
                  <c:v>3.4208146091019583E-2</c:v>
                </c:pt>
                <c:pt idx="2">
                  <c:v>4.638899137720838E-2</c:v>
                </c:pt>
                <c:pt idx="3">
                  <c:v>4.236303860922852E-2</c:v>
                </c:pt>
                <c:pt idx="4">
                  <c:v>7.3599001227352384E-2</c:v>
                </c:pt>
                <c:pt idx="5">
                  <c:v>0.21666215265832334</c:v>
                </c:pt>
                <c:pt idx="6">
                  <c:v>0.35850197330543981</c:v>
                </c:pt>
                <c:pt idx="7">
                  <c:v>0.11680761238296965</c:v>
                </c:pt>
                <c:pt idx="8">
                  <c:v>4.7250813869102577E-2</c:v>
                </c:pt>
                <c:pt idx="9">
                  <c:v>2.298885181058734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3220514636903894E-2</c:v>
                </c:pt>
                <c:pt idx="1">
                  <c:v>1.2441037528871992E-2</c:v>
                </c:pt>
                <c:pt idx="2">
                  <c:v>8.7624574801509106E-2</c:v>
                </c:pt>
                <c:pt idx="3">
                  <c:v>3.0282854374379737E-2</c:v>
                </c:pt>
                <c:pt idx="4">
                  <c:v>0.14027776593737548</c:v>
                </c:pt>
                <c:pt idx="5">
                  <c:v>0.28950622024873895</c:v>
                </c:pt>
                <c:pt idx="6">
                  <c:v>0.21798642705429877</c:v>
                </c:pt>
                <c:pt idx="7">
                  <c:v>5.6581598744397013E-2</c:v>
                </c:pt>
                <c:pt idx="8">
                  <c:v>9.882715982471646E-2</c:v>
                </c:pt>
                <c:pt idx="9">
                  <c:v>1.325184684880861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1847693416567174E-2</c:v>
                </c:pt>
                <c:pt idx="1">
                  <c:v>8.6420771688770298E-2</c:v>
                </c:pt>
                <c:pt idx="2">
                  <c:v>1.497950272481768E-2</c:v>
                </c:pt>
                <c:pt idx="3">
                  <c:v>3.8435745481682639E-2</c:v>
                </c:pt>
                <c:pt idx="4">
                  <c:v>9.2213614362690738E-2</c:v>
                </c:pt>
                <c:pt idx="5">
                  <c:v>0.23543198442819935</c:v>
                </c:pt>
                <c:pt idx="6">
                  <c:v>0.18117729862300258</c:v>
                </c:pt>
                <c:pt idx="7">
                  <c:v>0.20368518910803779</c:v>
                </c:pt>
                <c:pt idx="8">
                  <c:v>9.7217979514334779E-2</c:v>
                </c:pt>
                <c:pt idx="9">
                  <c:v>2.859022065189690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933771819624458E-2</c:v>
                </c:pt>
                <c:pt idx="1">
                  <c:v>2.1306896673764057E-2</c:v>
                </c:pt>
                <c:pt idx="2">
                  <c:v>2.5548831278795543E-2</c:v>
                </c:pt>
                <c:pt idx="3">
                  <c:v>5.7767970366862181E-2</c:v>
                </c:pt>
                <c:pt idx="4">
                  <c:v>7.3278076667783243E-2</c:v>
                </c:pt>
                <c:pt idx="5">
                  <c:v>0.11719239595450313</c:v>
                </c:pt>
                <c:pt idx="6">
                  <c:v>0.13363631496397968</c:v>
                </c:pt>
                <c:pt idx="7">
                  <c:v>0.18577181469164547</c:v>
                </c:pt>
                <c:pt idx="8">
                  <c:v>0.2060222230819663</c:v>
                </c:pt>
                <c:pt idx="9">
                  <c:v>0.13022682695731488</c:v>
                </c:pt>
                <c:pt idx="10">
                  <c:v>2.5314877543761053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8452095700271858E-2</c:v>
                </c:pt>
                <c:pt idx="1">
                  <c:v>6.9038415366902443E-3</c:v>
                </c:pt>
                <c:pt idx="2">
                  <c:v>3.8993138108884502E-2</c:v>
                </c:pt>
                <c:pt idx="3">
                  <c:v>9.2885754275378318E-2</c:v>
                </c:pt>
                <c:pt idx="4">
                  <c:v>0.12661389106941554</c:v>
                </c:pt>
                <c:pt idx="5">
                  <c:v>0.14139828617238459</c:v>
                </c:pt>
                <c:pt idx="6">
                  <c:v>8.327672553420401E-2</c:v>
                </c:pt>
                <c:pt idx="7">
                  <c:v>0.25943750265456544</c:v>
                </c:pt>
                <c:pt idx="8">
                  <c:v>0.16769832304927204</c:v>
                </c:pt>
                <c:pt idx="9">
                  <c:v>5.0813195599909045E-2</c:v>
                </c:pt>
                <c:pt idx="10">
                  <c:v>3.5272462990244605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8613377585847987E-2</c:v>
                </c:pt>
                <c:pt idx="1">
                  <c:v>1.56302030123537E-2</c:v>
                </c:pt>
                <c:pt idx="2">
                  <c:v>3.5294981321742719E-2</c:v>
                </c:pt>
                <c:pt idx="3">
                  <c:v>0.17153808610810198</c:v>
                </c:pt>
                <c:pt idx="4">
                  <c:v>0.13353047605469773</c:v>
                </c:pt>
                <c:pt idx="5">
                  <c:v>0.12917153792881839</c:v>
                </c:pt>
                <c:pt idx="6">
                  <c:v>7.2507313656684891E-2</c:v>
                </c:pt>
                <c:pt idx="7">
                  <c:v>0.21110141717184974</c:v>
                </c:pt>
                <c:pt idx="8">
                  <c:v>0.1733531988133058</c:v>
                </c:pt>
                <c:pt idx="9">
                  <c:v>1.9940538619508948E-2</c:v>
                </c:pt>
                <c:pt idx="10">
                  <c:v>9.3188697270881003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3.7133906303849374E-3</c:v>
                </c:pt>
                <c:pt idx="6">
                  <c:v>3.7208927261637654E-3</c:v>
                </c:pt>
                <c:pt idx="7">
                  <c:v>6.7927362415386603E-3</c:v>
                </c:pt>
                <c:pt idx="8">
                  <c:v>8.2783920757113615E-3</c:v>
                </c:pt>
                <c:pt idx="9">
                  <c:v>1.2625412475544438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9437627523840919E-2</c:v>
                </c:pt>
                <c:pt idx="1">
                  <c:v>1.7339094554510329E-2</c:v>
                </c:pt>
                <c:pt idx="2">
                  <c:v>4.8088716519655232E-2</c:v>
                </c:pt>
                <c:pt idx="3">
                  <c:v>0.20562364600569663</c:v>
                </c:pt>
                <c:pt idx="4">
                  <c:v>6.6748547419724566E-2</c:v>
                </c:pt>
                <c:pt idx="5">
                  <c:v>0.12200576981432011</c:v>
                </c:pt>
                <c:pt idx="6">
                  <c:v>4.6184937163428488E-2</c:v>
                </c:pt>
                <c:pt idx="7">
                  <c:v>0.2232454479683828</c:v>
                </c:pt>
                <c:pt idx="8">
                  <c:v>0.15135974545254935</c:v>
                </c:pt>
                <c:pt idx="9">
                  <c:v>8.959978013454500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1.4769469987927959E-2</c:v>
                </c:pt>
                <c:pt idx="2">
                  <c:v>2.3174585769354574E-3</c:v>
                </c:pt>
                <c:pt idx="3">
                  <c:v>5.4889164840494477E-2</c:v>
                </c:pt>
                <c:pt idx="4">
                  <c:v>2.1417116059667604E-2</c:v>
                </c:pt>
                <c:pt idx="5">
                  <c:v>5.4954785824171536E-2</c:v>
                </c:pt>
                <c:pt idx="6">
                  <c:v>0.14927955263464021</c:v>
                </c:pt>
                <c:pt idx="7">
                  <c:v>0.13229106377391031</c:v>
                </c:pt>
                <c:pt idx="8">
                  <c:v>0.31299472077907142</c:v>
                </c:pt>
                <c:pt idx="9">
                  <c:v>0.14351243301228028</c:v>
                </c:pt>
                <c:pt idx="10">
                  <c:v>0.1132490185854586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8.625546990269144E-3</c:v>
                </c:pt>
                <c:pt idx="6">
                  <c:v>1.1454780717940091E-2</c:v>
                </c:pt>
                <c:pt idx="7">
                  <c:v>2.2883222378001097E-2</c:v>
                </c:pt>
                <c:pt idx="8">
                  <c:v>5.329542368167689E-2</c:v>
                </c:pt>
                <c:pt idx="9">
                  <c:v>7.2519363217122216E-3</c:v>
                </c:pt>
                <c:pt idx="10">
                  <c:v>8.0130730057553258E-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0921024996954196E-3</c:v>
                </c:pt>
                <c:pt idx="1">
                  <c:v>2.2013794513369753E-2</c:v>
                </c:pt>
                <c:pt idx="2">
                  <c:v>6.0164729451450899E-3</c:v>
                </c:pt>
                <c:pt idx="3">
                  <c:v>5.9948371208162959E-2</c:v>
                </c:pt>
                <c:pt idx="4">
                  <c:v>2.3502461461467141E-2</c:v>
                </c:pt>
                <c:pt idx="5">
                  <c:v>7.9254515665220515E-2</c:v>
                </c:pt>
                <c:pt idx="6">
                  <c:v>0.10057809753875298</c:v>
                </c:pt>
                <c:pt idx="7">
                  <c:v>0.25267661121730906</c:v>
                </c:pt>
                <c:pt idx="8">
                  <c:v>0.2504997063205352</c:v>
                </c:pt>
                <c:pt idx="9">
                  <c:v>0.15719468225499186</c:v>
                </c:pt>
                <c:pt idx="10">
                  <c:v>4.722318437535000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4.3846185497573254E-3</c:v>
                </c:pt>
                <c:pt idx="6">
                  <c:v>1.6601237523760515E-2</c:v>
                </c:pt>
                <c:pt idx="7">
                  <c:v>4.2002967665951234E-2</c:v>
                </c:pt>
                <c:pt idx="8">
                  <c:v>3.5748879507964147E-2</c:v>
                </c:pt>
                <c:pt idx="9">
                  <c:v>8.9923057186475225E-3</c:v>
                </c:pt>
                <c:pt idx="10">
                  <c:v>1.0766087690494593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4.4185496993801796E-3</c:v>
                </c:pt>
                <c:pt idx="2">
                  <c:v>5.8867511383563064E-3</c:v>
                </c:pt>
                <c:pt idx="3">
                  <c:v>7.5681685289260239E-2</c:v>
                </c:pt>
                <c:pt idx="4">
                  <c:v>2.5426936831280101E-2</c:v>
                </c:pt>
                <c:pt idx="5">
                  <c:v>9.4771840334443316E-2</c:v>
                </c:pt>
                <c:pt idx="6">
                  <c:v>0.12889598069765412</c:v>
                </c:pt>
                <c:pt idx="7">
                  <c:v>0.13425471229470909</c:v>
                </c:pt>
                <c:pt idx="8">
                  <c:v>0.32909591222530005</c:v>
                </c:pt>
                <c:pt idx="9">
                  <c:v>0.10836522028352405</c:v>
                </c:pt>
                <c:pt idx="10">
                  <c:v>9.2817697572310995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1.896502549652692E-2</c:v>
                </c:pt>
                <c:pt idx="6">
                  <c:v>1.726077346311387E-2</c:v>
                </c:pt>
                <c:pt idx="7">
                  <c:v>1.6311361300978516E-2</c:v>
                </c:pt>
                <c:pt idx="8">
                  <c:v>8.2465150831309508E-2</c:v>
                </c:pt>
                <c:pt idx="9">
                  <c:v>1.140012387078055E-2</c:v>
                </c:pt>
                <c:pt idx="10">
                  <c:v>8.3803854922597388E-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4184151077648034E-3</c:v>
                </c:pt>
                <c:pt idx="1">
                  <c:v>1.2433173216472356E-2</c:v>
                </c:pt>
                <c:pt idx="2">
                  <c:v>1.6653419563341498E-2</c:v>
                </c:pt>
                <c:pt idx="3">
                  <c:v>4.528856379315839E-2</c:v>
                </c:pt>
                <c:pt idx="4">
                  <c:v>6.0469880502980883E-2</c:v>
                </c:pt>
                <c:pt idx="5">
                  <c:v>6.8046692315063287E-2</c:v>
                </c:pt>
                <c:pt idx="6">
                  <c:v>0.10564996279910281</c:v>
                </c:pt>
                <c:pt idx="7">
                  <c:v>0.20914003576282761</c:v>
                </c:pt>
                <c:pt idx="8">
                  <c:v>0.18189208301942128</c:v>
                </c:pt>
                <c:pt idx="9">
                  <c:v>5.0891551137366327E-2</c:v>
                </c:pt>
                <c:pt idx="10">
                  <c:v>0.2431162227825007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5466252732939898E-2</c:v>
                </c:pt>
                <c:pt idx="1">
                  <c:v>9.9224733000987369E-3</c:v>
                </c:pt>
                <c:pt idx="2">
                  <c:v>1.6234090341292841E-2</c:v>
                </c:pt>
                <c:pt idx="3">
                  <c:v>7.892262515697393E-2</c:v>
                </c:pt>
                <c:pt idx="4">
                  <c:v>6.1134484543004734E-2</c:v>
                </c:pt>
                <c:pt idx="5">
                  <c:v>0.11702285157285876</c:v>
                </c:pt>
                <c:pt idx="6">
                  <c:v>0.12607050273798581</c:v>
                </c:pt>
                <c:pt idx="7">
                  <c:v>0.17930534937108047</c:v>
                </c:pt>
                <c:pt idx="8">
                  <c:v>0.228569980379285</c:v>
                </c:pt>
                <c:pt idx="9">
                  <c:v>0.10314664132259939</c:v>
                </c:pt>
                <c:pt idx="10">
                  <c:v>6.4204748541880435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5.6185465938068154E-4</c:v>
                </c:pt>
                <c:pt idx="8">
                  <c:v>1.0642447438020322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2664777716174216E-2</c:v>
                </c:pt>
                <c:pt idx="1">
                  <c:v>1.455215005945285E-2</c:v>
                </c:pt>
                <c:pt idx="2">
                  <c:v>3.1793157987583059E-2</c:v>
                </c:pt>
                <c:pt idx="3">
                  <c:v>4.8197250418922831E-2</c:v>
                </c:pt>
                <c:pt idx="4">
                  <c:v>3.6172401739128744E-2</c:v>
                </c:pt>
                <c:pt idx="5">
                  <c:v>0.10756737889583759</c:v>
                </c:pt>
                <c:pt idx="6">
                  <c:v>0.1437797360274827</c:v>
                </c:pt>
                <c:pt idx="7">
                  <c:v>0.16541094068946494</c:v>
                </c:pt>
                <c:pt idx="8">
                  <c:v>0.17248314445239338</c:v>
                </c:pt>
                <c:pt idx="9">
                  <c:v>0.20438488641867086</c:v>
                </c:pt>
                <c:pt idx="10">
                  <c:v>6.2994175594888818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3.7298040148804625E-3</c:v>
                </c:pt>
                <c:pt idx="8">
                  <c:v>1.2975505881202803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233788397141476E-3</c:v>
                </c:pt>
                <c:pt idx="1">
                  <c:v>3.9175222582530523E-3</c:v>
                </c:pt>
                <c:pt idx="2">
                  <c:v>2.0573970079543279E-2</c:v>
                </c:pt>
                <c:pt idx="3">
                  <c:v>9.2174349105215783E-2</c:v>
                </c:pt>
                <c:pt idx="4">
                  <c:v>2.4063880146346323E-2</c:v>
                </c:pt>
                <c:pt idx="5">
                  <c:v>8.1603425497824275E-2</c:v>
                </c:pt>
                <c:pt idx="6">
                  <c:v>0.12296985512425648</c:v>
                </c:pt>
                <c:pt idx="7">
                  <c:v>0.20932020763186437</c:v>
                </c:pt>
                <c:pt idx="8">
                  <c:v>0.14848773889644468</c:v>
                </c:pt>
                <c:pt idx="9">
                  <c:v>0.13344545786542819</c:v>
                </c:pt>
                <c:pt idx="10">
                  <c:v>0.1593202145551093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6.7741101620392009E-4</c:v>
                </c:pt>
                <c:pt idx="7">
                  <c:v>1.1066114815078863E-3</c:v>
                </c:pt>
                <c:pt idx="8">
                  <c:v>1.2830687066825287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233413980241707E-2</c:v>
                </c:pt>
                <c:pt idx="1">
                  <c:v>1.8516038253045788E-2</c:v>
                </c:pt>
                <c:pt idx="2">
                  <c:v>1.0825272627964894E-2</c:v>
                </c:pt>
                <c:pt idx="3">
                  <c:v>1.3085022230190355E-2</c:v>
                </c:pt>
                <c:pt idx="4">
                  <c:v>2.27156576849857E-2</c:v>
                </c:pt>
                <c:pt idx="5">
                  <c:v>0.15241475836441309</c:v>
                </c:pt>
                <c:pt idx="6">
                  <c:v>0.1326046133269137</c:v>
                </c:pt>
                <c:pt idx="7">
                  <c:v>0.14706949062230559</c:v>
                </c:pt>
                <c:pt idx="8">
                  <c:v>0.27489550926231998</c:v>
                </c:pt>
                <c:pt idx="9">
                  <c:v>0.18418147748810215</c:v>
                </c:pt>
                <c:pt idx="10">
                  <c:v>2.135802033734167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9772656352017654E-2</c:v>
                </c:pt>
                <c:pt idx="1">
                  <c:v>2.3212152827471175E-2</c:v>
                </c:pt>
                <c:pt idx="2">
                  <c:v>9.5276320472047864E-3</c:v>
                </c:pt>
                <c:pt idx="3">
                  <c:v>2.0834565919059692E-2</c:v>
                </c:pt>
                <c:pt idx="4">
                  <c:v>5.6280952496327266E-2</c:v>
                </c:pt>
                <c:pt idx="5">
                  <c:v>0.14858554007140798</c:v>
                </c:pt>
                <c:pt idx="6">
                  <c:v>0.13431405689832426</c:v>
                </c:pt>
                <c:pt idx="7">
                  <c:v>0.17459164325638371</c:v>
                </c:pt>
                <c:pt idx="8">
                  <c:v>0.24859878263049723</c:v>
                </c:pt>
                <c:pt idx="9">
                  <c:v>0.15784269013818414</c:v>
                </c:pt>
                <c:pt idx="10">
                  <c:v>6.4393273631220939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180570518301911E-2</c:v>
                </c:pt>
                <c:pt idx="1">
                  <c:v>7.1787501568152164E-3</c:v>
                </c:pt>
                <c:pt idx="2">
                  <c:v>7.4170086151862345E-3</c:v>
                </c:pt>
                <c:pt idx="3">
                  <c:v>1.2870735468148011E-2</c:v>
                </c:pt>
                <c:pt idx="4">
                  <c:v>6.6308669366560491E-2</c:v>
                </c:pt>
                <c:pt idx="5">
                  <c:v>0.16040717619239409</c:v>
                </c:pt>
                <c:pt idx="6">
                  <c:v>0.13239687151562307</c:v>
                </c:pt>
                <c:pt idx="7">
                  <c:v>0.17333995418547299</c:v>
                </c:pt>
                <c:pt idx="8">
                  <c:v>0.20746469137783646</c:v>
                </c:pt>
                <c:pt idx="9">
                  <c:v>0.13202397008973621</c:v>
                </c:pt>
                <c:pt idx="10">
                  <c:v>6.878646784920812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8.9525360984545194E-3</c:v>
                </c:pt>
                <c:pt idx="6">
                  <c:v>3.7349618878602113E-3</c:v>
                </c:pt>
                <c:pt idx="7">
                  <c:v>2.7415622541545428E-3</c:v>
                </c:pt>
                <c:pt idx="8">
                  <c:v>1.5305374222457263E-2</c:v>
                </c:pt>
                <c:pt idx="9">
                  <c:v>1.7616601058001828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3951101757598065E-2</c:v>
                </c:pt>
                <c:pt idx="1">
                  <c:v>2.171650644987758E-2</c:v>
                </c:pt>
                <c:pt idx="2">
                  <c:v>4.1399587782975131E-2</c:v>
                </c:pt>
                <c:pt idx="3">
                  <c:v>2.1668009689674434E-2</c:v>
                </c:pt>
                <c:pt idx="4">
                  <c:v>5.2557201124251975E-2</c:v>
                </c:pt>
                <c:pt idx="5">
                  <c:v>6.3701696813512995E-2</c:v>
                </c:pt>
                <c:pt idx="6">
                  <c:v>0.13085829476746524</c:v>
                </c:pt>
                <c:pt idx="7">
                  <c:v>0.17790741654622319</c:v>
                </c:pt>
                <c:pt idx="8">
                  <c:v>0.38182493017031233</c:v>
                </c:pt>
                <c:pt idx="9">
                  <c:v>7.1585046101095867E-2</c:v>
                </c:pt>
                <c:pt idx="10">
                  <c:v>2.8302087970132738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6578369953938744E-2</c:v>
                </c:pt>
                <c:pt idx="1">
                  <c:v>3.9748049335277487E-2</c:v>
                </c:pt>
                <c:pt idx="2">
                  <c:v>3.6152583544337209E-2</c:v>
                </c:pt>
                <c:pt idx="3">
                  <c:v>2.5469849750860748E-2</c:v>
                </c:pt>
                <c:pt idx="4">
                  <c:v>6.4813880382745381E-2</c:v>
                </c:pt>
                <c:pt idx="5">
                  <c:v>8.5197700245182306E-2</c:v>
                </c:pt>
                <c:pt idx="6">
                  <c:v>0.17447621527054127</c:v>
                </c:pt>
                <c:pt idx="7">
                  <c:v>0.20259246306990594</c:v>
                </c:pt>
                <c:pt idx="8">
                  <c:v>0.20923515941614845</c:v>
                </c:pt>
                <c:pt idx="9">
                  <c:v>0.10072276476360653</c:v>
                </c:pt>
                <c:pt idx="10">
                  <c:v>5.0129642674558942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150705379299439E-2</c:v>
                </c:pt>
                <c:pt idx="1">
                  <c:v>9.0902853088647602E-3</c:v>
                </c:pt>
                <c:pt idx="2">
                  <c:v>1.6253323699152004E-2</c:v>
                </c:pt>
                <c:pt idx="3">
                  <c:v>1.2374473445219698E-2</c:v>
                </c:pt>
                <c:pt idx="4">
                  <c:v>5.2044058253641882E-2</c:v>
                </c:pt>
                <c:pt idx="5">
                  <c:v>9.1526042103984434E-2</c:v>
                </c:pt>
                <c:pt idx="6">
                  <c:v>0.20203294286153259</c:v>
                </c:pt>
                <c:pt idx="7">
                  <c:v>0.15911147347283777</c:v>
                </c:pt>
                <c:pt idx="8">
                  <c:v>0.36684529217071971</c:v>
                </c:pt>
                <c:pt idx="9">
                  <c:v>7.9215054891052752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229236969787683E-2</c:v>
                </c:pt>
                <c:pt idx="1">
                  <c:v>3.4208146091019583E-2</c:v>
                </c:pt>
                <c:pt idx="2">
                  <c:v>4.638899137720838E-2</c:v>
                </c:pt>
                <c:pt idx="3">
                  <c:v>4.236303860922852E-2</c:v>
                </c:pt>
                <c:pt idx="4">
                  <c:v>7.3599001227352384E-2</c:v>
                </c:pt>
                <c:pt idx="5">
                  <c:v>0.21666215265832334</c:v>
                </c:pt>
                <c:pt idx="6">
                  <c:v>0.35850197330543981</c:v>
                </c:pt>
                <c:pt idx="7">
                  <c:v>0.11680761238296965</c:v>
                </c:pt>
                <c:pt idx="8">
                  <c:v>4.7250813869102577E-2</c:v>
                </c:pt>
                <c:pt idx="9">
                  <c:v>2.298885181058734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3220514636903894E-2</c:v>
                </c:pt>
                <c:pt idx="1">
                  <c:v>1.2441037528871992E-2</c:v>
                </c:pt>
                <c:pt idx="2">
                  <c:v>8.7624574801509106E-2</c:v>
                </c:pt>
                <c:pt idx="3">
                  <c:v>3.0282854374379737E-2</c:v>
                </c:pt>
                <c:pt idx="4">
                  <c:v>0.14027776593737548</c:v>
                </c:pt>
                <c:pt idx="5">
                  <c:v>0.28950622024873895</c:v>
                </c:pt>
                <c:pt idx="6">
                  <c:v>0.21798642705429877</c:v>
                </c:pt>
                <c:pt idx="7">
                  <c:v>5.6581598744397013E-2</c:v>
                </c:pt>
                <c:pt idx="8">
                  <c:v>9.882715982471646E-2</c:v>
                </c:pt>
                <c:pt idx="9">
                  <c:v>1.325184684880861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87891005521236E-2</c:v>
                </c:pt>
                <c:pt idx="1">
                  <c:v>1.6251035103638078E-2</c:v>
                </c:pt>
                <c:pt idx="2">
                  <c:v>2.1266939372631518E-2</c:v>
                </c:pt>
                <c:pt idx="3">
                  <c:v>3.9450724674471832E-2</c:v>
                </c:pt>
                <c:pt idx="4">
                  <c:v>5.1534564696052484E-2</c:v>
                </c:pt>
                <c:pt idx="5">
                  <c:v>0.10248226676541282</c:v>
                </c:pt>
                <c:pt idx="6">
                  <c:v>0.13074905745117735</c:v>
                </c:pt>
                <c:pt idx="7">
                  <c:v>0.17785855434784298</c:v>
                </c:pt>
                <c:pt idx="8">
                  <c:v>0.25638873725251132</c:v>
                </c:pt>
                <c:pt idx="9">
                  <c:v>0.10346326897165924</c:v>
                </c:pt>
                <c:pt idx="10">
                  <c:v>8.1765750812478777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1847693416567174E-2</c:v>
                </c:pt>
                <c:pt idx="1">
                  <c:v>8.6420771688770298E-2</c:v>
                </c:pt>
                <c:pt idx="2">
                  <c:v>1.497950272481768E-2</c:v>
                </c:pt>
                <c:pt idx="3">
                  <c:v>3.8435745481682639E-2</c:v>
                </c:pt>
                <c:pt idx="4">
                  <c:v>9.2213614362690738E-2</c:v>
                </c:pt>
                <c:pt idx="5">
                  <c:v>0.23543198442819935</c:v>
                </c:pt>
                <c:pt idx="6">
                  <c:v>0.18117729862300258</c:v>
                </c:pt>
                <c:pt idx="7">
                  <c:v>0.20368518910803779</c:v>
                </c:pt>
                <c:pt idx="8">
                  <c:v>9.7217979514334779E-2</c:v>
                </c:pt>
                <c:pt idx="9">
                  <c:v>2.859022065189690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4.3257184948635877E-3</c:v>
                </c:pt>
                <c:pt idx="3">
                  <c:v>1.0390500489843798E-3</c:v>
                </c:pt>
                <c:pt idx="4">
                  <c:v>7.1165642706886526E-4</c:v>
                </c:pt>
                <c:pt idx="5">
                  <c:v>2.8464754002435724E-3</c:v>
                </c:pt>
                <c:pt idx="6">
                  <c:v>2.1754014985263929E-3</c:v>
                </c:pt>
                <c:pt idx="7">
                  <c:v>6.2302606315371087E-3</c:v>
                </c:pt>
                <c:pt idx="8">
                  <c:v>7.3358842734815265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4.5441950144601978E-3</c:v>
                </c:pt>
                <c:pt idx="3">
                  <c:v>1.0915287386305847E-3</c:v>
                </c:pt>
                <c:pt idx="4">
                  <c:v>7.4759963962862475E-4</c:v>
                </c:pt>
                <c:pt idx="5">
                  <c:v>2.9902406589632558E-3</c:v>
                </c:pt>
                <c:pt idx="6">
                  <c:v>2.2852732224232768E-3</c:v>
                </c:pt>
                <c:pt idx="7">
                  <c:v>6.5449287405632212E-3</c:v>
                </c:pt>
                <c:pt idx="8">
                  <c:v>7.7063934654543371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98673961529265E-2</c:v>
                </c:pt>
                <c:pt idx="1">
                  <c:v>2.2440013185811045E-2</c:v>
                </c:pt>
                <c:pt idx="2">
                  <c:v>2.5308299426034544E-2</c:v>
                </c:pt>
                <c:pt idx="3">
                  <c:v>5.3762350004310372E-2</c:v>
                </c:pt>
                <c:pt idx="4">
                  <c:v>6.0479768899024261E-2</c:v>
                </c:pt>
                <c:pt idx="5">
                  <c:v>0.11906086687087766</c:v>
                </c:pt>
                <c:pt idx="6">
                  <c:v>0.13389055283916435</c:v>
                </c:pt>
                <c:pt idx="7">
                  <c:v>0.18936383046379759</c:v>
                </c:pt>
                <c:pt idx="8">
                  <c:v>0.20795372780999538</c:v>
                </c:pt>
                <c:pt idx="9">
                  <c:v>0.13703616353638812</c:v>
                </c:pt>
                <c:pt idx="10">
                  <c:v>2.67176873493040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8848811065502098E-3</c:v>
                </c:pt>
                <c:pt idx="3">
                  <c:v>4.5041711297573537E-3</c:v>
                </c:pt>
                <c:pt idx="4">
                  <c:v>8.0022391179891315E-4</c:v>
                </c:pt>
                <c:pt idx="5">
                  <c:v>3.2043831717822372E-3</c:v>
                </c:pt>
                <c:pt idx="6">
                  <c:v>2.846086397167409E-3</c:v>
                </c:pt>
                <c:pt idx="7">
                  <c:v>7.7798020967602037E-3</c:v>
                </c:pt>
                <c:pt idx="8">
                  <c:v>7.21137534056697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6527667394670337E-2</c:v>
                </c:pt>
                <c:pt idx="1">
                  <c:v>1.059839761131851E-2</c:v>
                </c:pt>
                <c:pt idx="2">
                  <c:v>1.7161497889988782E-2</c:v>
                </c:pt>
                <c:pt idx="3">
                  <c:v>6.6576011417078446E-2</c:v>
                </c:pt>
                <c:pt idx="4">
                  <c:v>4.9079788619134333E-2</c:v>
                </c:pt>
                <c:pt idx="5">
                  <c:v>0.11852206218782732</c:v>
                </c:pt>
                <c:pt idx="6">
                  <c:v>0.13215882489295883</c:v>
                </c:pt>
                <c:pt idx="7">
                  <c:v>0.17983556640418591</c:v>
                </c:pt>
                <c:pt idx="8">
                  <c:v>0.23095884548151405</c:v>
                </c:pt>
                <c:pt idx="9">
                  <c:v>0.10991926140650649</c:v>
                </c:pt>
                <c:pt idx="10">
                  <c:v>6.8662076694817026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2.2975844533108533E-3</c:v>
                </c:pt>
                <c:pt idx="2">
                  <c:v>4.0968862843632587E-3</c:v>
                </c:pt>
                <c:pt idx="5">
                  <c:v>4.9637303428646503E-3</c:v>
                </c:pt>
                <c:pt idx="6">
                  <c:v>3.812679622738398E-3</c:v>
                </c:pt>
                <c:pt idx="7">
                  <c:v>6.3940046027105525E-3</c:v>
                </c:pt>
                <c:pt idx="8">
                  <c:v>8.2263324437930243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0195170591014295E-2</c:v>
                </c:pt>
                <c:pt idx="1">
                  <c:v>6.5559309181143974E-4</c:v>
                </c:pt>
                <c:pt idx="2">
                  <c:v>1.8509581616242188E-3</c:v>
                </c:pt>
                <c:pt idx="3">
                  <c:v>0.14860049297530936</c:v>
                </c:pt>
                <c:pt idx="4">
                  <c:v>0.35490978902863579</c:v>
                </c:pt>
                <c:pt idx="5">
                  <c:v>9.2347322437613608E-2</c:v>
                </c:pt>
                <c:pt idx="6">
                  <c:v>2.4790528801785793E-2</c:v>
                </c:pt>
                <c:pt idx="7">
                  <c:v>0.12812039009766801</c:v>
                </c:pt>
                <c:pt idx="8">
                  <c:v>0.22102038676692062</c:v>
                </c:pt>
                <c:pt idx="9">
                  <c:v>7.4387689291660385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5229844271682886E-2</c:v>
                </c:pt>
                <c:pt idx="1">
                  <c:v>1.2590592051960471E-3</c:v>
                </c:pt>
                <c:pt idx="2">
                  <c:v>3.2731555461713205E-2</c:v>
                </c:pt>
                <c:pt idx="3">
                  <c:v>0.14152197984434281</c:v>
                </c:pt>
                <c:pt idx="4">
                  <c:v>0.32430501393489058</c:v>
                </c:pt>
                <c:pt idx="5">
                  <c:v>7.999615168178828E-2</c:v>
                </c:pt>
                <c:pt idx="6">
                  <c:v>9.6445642492324651E-2</c:v>
                </c:pt>
                <c:pt idx="7">
                  <c:v>0.11128880451125545</c:v>
                </c:pt>
                <c:pt idx="8">
                  <c:v>0.17753774739433337</c:v>
                </c:pt>
                <c:pt idx="9">
                  <c:v>9.2913757652238228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0096130298614627E-3</c:v>
                </c:pt>
                <c:pt idx="3">
                  <c:v>0.26864620226306141</c:v>
                </c:pt>
                <c:pt idx="4">
                  <c:v>0.24445258049451576</c:v>
                </c:pt>
                <c:pt idx="5">
                  <c:v>9.7099623144768832E-2</c:v>
                </c:pt>
                <c:pt idx="6">
                  <c:v>2.9819821017562358E-2</c:v>
                </c:pt>
                <c:pt idx="7">
                  <c:v>0.16448722706132768</c:v>
                </c:pt>
                <c:pt idx="8">
                  <c:v>0.1922824145702286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933771819624458E-2</c:v>
                </c:pt>
                <c:pt idx="1">
                  <c:v>2.1306896673764057E-2</c:v>
                </c:pt>
                <c:pt idx="2">
                  <c:v>2.5548831278795543E-2</c:v>
                </c:pt>
                <c:pt idx="3">
                  <c:v>5.7767970366862181E-2</c:v>
                </c:pt>
                <c:pt idx="4">
                  <c:v>7.3278076667783243E-2</c:v>
                </c:pt>
                <c:pt idx="5">
                  <c:v>0.11719239595450313</c:v>
                </c:pt>
                <c:pt idx="6">
                  <c:v>0.13363631496397968</c:v>
                </c:pt>
                <c:pt idx="7">
                  <c:v>0.18577181469164547</c:v>
                </c:pt>
                <c:pt idx="8">
                  <c:v>0.2060222230819663</c:v>
                </c:pt>
                <c:pt idx="9">
                  <c:v>0.13022682695731488</c:v>
                </c:pt>
                <c:pt idx="10">
                  <c:v>2.5314877543761053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87891005521236E-2</c:v>
                </c:pt>
                <c:pt idx="1">
                  <c:v>1.6251035103638078E-2</c:v>
                </c:pt>
                <c:pt idx="2">
                  <c:v>2.1266939372631518E-2</c:v>
                </c:pt>
                <c:pt idx="3">
                  <c:v>3.9450724674471832E-2</c:v>
                </c:pt>
                <c:pt idx="4">
                  <c:v>5.1534564696052484E-2</c:v>
                </c:pt>
                <c:pt idx="5">
                  <c:v>0.10248226676541282</c:v>
                </c:pt>
                <c:pt idx="6">
                  <c:v>0.13074905745117735</c:v>
                </c:pt>
                <c:pt idx="7">
                  <c:v>0.17785855434784298</c:v>
                </c:pt>
                <c:pt idx="8">
                  <c:v>0.25638873725251132</c:v>
                </c:pt>
                <c:pt idx="9">
                  <c:v>0.10346326897165924</c:v>
                </c:pt>
                <c:pt idx="10">
                  <c:v>8.1765750812478777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1.000907978731899E-2</c:v>
                </c:pt>
                <c:pt idx="4">
                  <c:v>1.6753766326639032E-3</c:v>
                </c:pt>
                <c:pt idx="5">
                  <c:v>7.5120677716586882E-3</c:v>
                </c:pt>
                <c:pt idx="6">
                  <c:v>2.8291378416455807E-3</c:v>
                </c:pt>
                <c:pt idx="7">
                  <c:v>7.1963882763930506E-3</c:v>
                </c:pt>
                <c:pt idx="8">
                  <c:v>3.0042540751993346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98673961529265E-2</c:v>
                </c:pt>
                <c:pt idx="1">
                  <c:v>2.2440013185811045E-2</c:v>
                </c:pt>
                <c:pt idx="2">
                  <c:v>2.5308299426034544E-2</c:v>
                </c:pt>
                <c:pt idx="3">
                  <c:v>5.3762350004310372E-2</c:v>
                </c:pt>
                <c:pt idx="4">
                  <c:v>6.0479768899024261E-2</c:v>
                </c:pt>
                <c:pt idx="5">
                  <c:v>0.11906086687087766</c:v>
                </c:pt>
                <c:pt idx="6">
                  <c:v>0.13389055283916435</c:v>
                </c:pt>
                <c:pt idx="7">
                  <c:v>0.18936383046379759</c:v>
                </c:pt>
                <c:pt idx="8">
                  <c:v>0.20795372780999538</c:v>
                </c:pt>
                <c:pt idx="9">
                  <c:v>0.13703616353638812</c:v>
                </c:pt>
                <c:pt idx="10">
                  <c:v>2.67176873493040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6781357983487139E-3</c:v>
                </c:pt>
                <c:pt idx="3">
                  <c:v>4.2644684920514373E-3</c:v>
                </c:pt>
                <c:pt idx="4">
                  <c:v>7.5763765632866874E-4</c:v>
                </c:pt>
                <c:pt idx="5">
                  <c:v>3.0338525510822125E-3</c:v>
                </c:pt>
                <c:pt idx="6">
                  <c:v>2.6946235870550614E-3</c:v>
                </c:pt>
                <c:pt idx="7">
                  <c:v>7.3657771785897649E-3</c:v>
                </c:pt>
                <c:pt idx="8">
                  <c:v>6.8276009144131421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1.687721138806102E-2</c:v>
                </c:pt>
                <c:pt idx="4">
                  <c:v>4.1377809660183397E-3</c:v>
                </c:pt>
                <c:pt idx="5">
                  <c:v>5.7693051247716251E-3</c:v>
                </c:pt>
                <c:pt idx="6">
                  <c:v>2.8979991016709087E-3</c:v>
                </c:pt>
                <c:pt idx="7">
                  <c:v>6.704058442431768E-3</c:v>
                </c:pt>
                <c:pt idx="8">
                  <c:v>2.0856655822744283E-3</c:v>
                </c:pt>
                <c:pt idx="9">
                  <c:v>1.8707747056201961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6527667394670337E-2</c:v>
                </c:pt>
                <c:pt idx="1">
                  <c:v>1.059839761131851E-2</c:v>
                </c:pt>
                <c:pt idx="2">
                  <c:v>1.7161497889988782E-2</c:v>
                </c:pt>
                <c:pt idx="3">
                  <c:v>6.6576011417078446E-2</c:v>
                </c:pt>
                <c:pt idx="4">
                  <c:v>4.9079788619134333E-2</c:v>
                </c:pt>
                <c:pt idx="5">
                  <c:v>0.11852206218782732</c:v>
                </c:pt>
                <c:pt idx="6">
                  <c:v>0.13215882489295883</c:v>
                </c:pt>
                <c:pt idx="7">
                  <c:v>0.17983556640418591</c:v>
                </c:pt>
                <c:pt idx="8">
                  <c:v>0.23095884548151405</c:v>
                </c:pt>
                <c:pt idx="9">
                  <c:v>0.10991926140650649</c:v>
                </c:pt>
                <c:pt idx="10">
                  <c:v>6.8662076694817026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2252337967307976E-4</c:v>
                </c:pt>
                <c:pt idx="2">
                  <c:v>2.0947426931609502E-3</c:v>
                </c:pt>
                <c:pt idx="3">
                  <c:v>1.0539715045887483E-2</c:v>
                </c:pt>
                <c:pt idx="4">
                  <c:v>6.1164716718885874E-3</c:v>
                </c:pt>
                <c:pt idx="5">
                  <c:v>4.6386342526640147E-3</c:v>
                </c:pt>
                <c:pt idx="6">
                  <c:v>1.3922616492914946E-3</c:v>
                </c:pt>
                <c:pt idx="7">
                  <c:v>1.2061574390215329E-2</c:v>
                </c:pt>
                <c:pt idx="8">
                  <c:v>1.8675453811650908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0195170591014295E-2</c:v>
                </c:pt>
                <c:pt idx="1">
                  <c:v>6.5559309181143974E-4</c:v>
                </c:pt>
                <c:pt idx="2">
                  <c:v>1.8509581616242188E-3</c:v>
                </c:pt>
                <c:pt idx="3">
                  <c:v>0.14860049297530936</c:v>
                </c:pt>
                <c:pt idx="4">
                  <c:v>0.35490978902863579</c:v>
                </c:pt>
                <c:pt idx="5">
                  <c:v>9.2347322437613608E-2</c:v>
                </c:pt>
                <c:pt idx="6">
                  <c:v>2.4790528801785793E-2</c:v>
                </c:pt>
                <c:pt idx="7">
                  <c:v>0.12812039009766801</c:v>
                </c:pt>
                <c:pt idx="8">
                  <c:v>0.22102038676692062</c:v>
                </c:pt>
                <c:pt idx="9">
                  <c:v>7.4387689291660385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5229844271682886E-2</c:v>
                </c:pt>
                <c:pt idx="1">
                  <c:v>1.2590592051960471E-3</c:v>
                </c:pt>
                <c:pt idx="2">
                  <c:v>3.2731555461713205E-2</c:v>
                </c:pt>
                <c:pt idx="3">
                  <c:v>0.14152197984434281</c:v>
                </c:pt>
                <c:pt idx="4">
                  <c:v>0.32430501393489058</c:v>
                </c:pt>
                <c:pt idx="5">
                  <c:v>7.999615168178828E-2</c:v>
                </c:pt>
                <c:pt idx="6">
                  <c:v>9.6445642492324651E-2</c:v>
                </c:pt>
                <c:pt idx="7">
                  <c:v>0.11128880451125545</c:v>
                </c:pt>
                <c:pt idx="8">
                  <c:v>0.17753774739433337</c:v>
                </c:pt>
                <c:pt idx="9">
                  <c:v>9.2913757652238228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0096130298614627E-3</c:v>
                </c:pt>
                <c:pt idx="3">
                  <c:v>0.26864620226306141</c:v>
                </c:pt>
                <c:pt idx="4">
                  <c:v>0.24445258049451576</c:v>
                </c:pt>
                <c:pt idx="5">
                  <c:v>9.7099623144768832E-2</c:v>
                </c:pt>
                <c:pt idx="6">
                  <c:v>2.9819821017562358E-2</c:v>
                </c:pt>
                <c:pt idx="7">
                  <c:v>0.16448722706132768</c:v>
                </c:pt>
                <c:pt idx="8">
                  <c:v>0.1922824145702286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5466252732939898E-2</c:v>
                </c:pt>
                <c:pt idx="1">
                  <c:v>9.9224733000987369E-3</c:v>
                </c:pt>
                <c:pt idx="2">
                  <c:v>1.6234090341292841E-2</c:v>
                </c:pt>
                <c:pt idx="3">
                  <c:v>7.892262515697393E-2</c:v>
                </c:pt>
                <c:pt idx="4">
                  <c:v>6.1134484543004734E-2</c:v>
                </c:pt>
                <c:pt idx="5">
                  <c:v>0.11702285157285876</c:v>
                </c:pt>
                <c:pt idx="6">
                  <c:v>0.12607050273798581</c:v>
                </c:pt>
                <c:pt idx="7">
                  <c:v>0.17930534937108047</c:v>
                </c:pt>
                <c:pt idx="8">
                  <c:v>0.228569980379285</c:v>
                </c:pt>
                <c:pt idx="9">
                  <c:v>0.10314664132259939</c:v>
                </c:pt>
                <c:pt idx="10">
                  <c:v>6.4204748541880435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87891005521236E-2</c:v>
                </c:pt>
                <c:pt idx="1">
                  <c:v>1.6251035103638078E-2</c:v>
                </c:pt>
                <c:pt idx="2">
                  <c:v>2.1266939372631518E-2</c:v>
                </c:pt>
                <c:pt idx="3">
                  <c:v>3.9450724674471832E-2</c:v>
                </c:pt>
                <c:pt idx="4">
                  <c:v>5.1534564696052484E-2</c:v>
                </c:pt>
                <c:pt idx="5">
                  <c:v>0.10248226676541282</c:v>
                </c:pt>
                <c:pt idx="6">
                  <c:v>0.13074905745117735</c:v>
                </c:pt>
                <c:pt idx="7">
                  <c:v>0.17785855434784298</c:v>
                </c:pt>
                <c:pt idx="8">
                  <c:v>0.25638873725251132</c:v>
                </c:pt>
                <c:pt idx="9">
                  <c:v>0.10346326897165924</c:v>
                </c:pt>
                <c:pt idx="10">
                  <c:v>8.1765750812478777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1.2986296548917224E-3</c:v>
                </c:pt>
                <c:pt idx="6">
                  <c:v>1.7245883591360195E-3</c:v>
                </c:pt>
                <c:pt idx="7">
                  <c:v>3.5792902282274709E-3</c:v>
                </c:pt>
                <c:pt idx="8">
                  <c:v>1.0563633147490141E-2</c:v>
                </c:pt>
                <c:pt idx="9">
                  <c:v>1.091824040073779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98673961529265E-2</c:v>
                </c:pt>
                <c:pt idx="1">
                  <c:v>2.2440013185811045E-2</c:v>
                </c:pt>
                <c:pt idx="2">
                  <c:v>2.5308299426034544E-2</c:v>
                </c:pt>
                <c:pt idx="3">
                  <c:v>5.3762350004310372E-2</c:v>
                </c:pt>
                <c:pt idx="4">
                  <c:v>6.0479768899024261E-2</c:v>
                </c:pt>
                <c:pt idx="5">
                  <c:v>0.11906086687087766</c:v>
                </c:pt>
                <c:pt idx="6">
                  <c:v>0.13389055283916435</c:v>
                </c:pt>
                <c:pt idx="7">
                  <c:v>0.18936383046379759</c:v>
                </c:pt>
                <c:pt idx="8">
                  <c:v>0.20795372780999538</c:v>
                </c:pt>
                <c:pt idx="9">
                  <c:v>0.13703616353638812</c:v>
                </c:pt>
                <c:pt idx="10">
                  <c:v>2.67176873493040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6.502139779190402E-4</c:v>
                </c:pt>
                <c:pt idx="6">
                  <c:v>2.4618690465788855E-3</c:v>
                </c:pt>
                <c:pt idx="7">
                  <c:v>7.1745509500708649E-3</c:v>
                </c:pt>
                <c:pt idx="8">
                  <c:v>8.5914969433410551E-3</c:v>
                </c:pt>
                <c:pt idx="9">
                  <c:v>1.333507762564556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6527667394670337E-2</c:v>
                </c:pt>
                <c:pt idx="1">
                  <c:v>1.059839761131851E-2</c:v>
                </c:pt>
                <c:pt idx="2">
                  <c:v>1.7161497889988782E-2</c:v>
                </c:pt>
                <c:pt idx="3">
                  <c:v>6.6576011417078446E-2</c:v>
                </c:pt>
                <c:pt idx="4">
                  <c:v>4.9079788619134333E-2</c:v>
                </c:pt>
                <c:pt idx="5">
                  <c:v>0.11852206218782732</c:v>
                </c:pt>
                <c:pt idx="6">
                  <c:v>0.13215882489295883</c:v>
                </c:pt>
                <c:pt idx="7">
                  <c:v>0.17983556640418591</c:v>
                </c:pt>
                <c:pt idx="8">
                  <c:v>0.23095884548151405</c:v>
                </c:pt>
                <c:pt idx="9">
                  <c:v>0.10991926140650649</c:v>
                </c:pt>
                <c:pt idx="10">
                  <c:v>6.8662076694817026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2.1484324270327876E-3</c:v>
                </c:pt>
                <c:pt idx="2">
                  <c:v>3.8309291876119076E-3</c:v>
                </c:pt>
                <c:pt idx="5">
                  <c:v>4.6415004298491257E-3</c:v>
                </c:pt>
                <c:pt idx="6">
                  <c:v>3.56517233722336E-3</c:v>
                </c:pt>
                <c:pt idx="7">
                  <c:v>5.9789257397110706E-3</c:v>
                </c:pt>
                <c:pt idx="8">
                  <c:v>7.6923045646172961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3.1341210426330847E-3</c:v>
                </c:pt>
                <c:pt idx="6">
                  <c:v>2.9971364998719755E-3</c:v>
                </c:pt>
                <c:pt idx="7">
                  <c:v>2.9318915194502439E-3</c:v>
                </c:pt>
                <c:pt idx="8">
                  <c:v>1.6367929204173116E-2</c:v>
                </c:pt>
                <c:pt idx="9">
                  <c:v>1.8839609848444547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0195170591014295E-2</c:v>
                </c:pt>
                <c:pt idx="1">
                  <c:v>6.5559309181143974E-4</c:v>
                </c:pt>
                <c:pt idx="2">
                  <c:v>1.8509581616242188E-3</c:v>
                </c:pt>
                <c:pt idx="3">
                  <c:v>0.14860049297530936</c:v>
                </c:pt>
                <c:pt idx="4">
                  <c:v>0.35490978902863579</c:v>
                </c:pt>
                <c:pt idx="5">
                  <c:v>9.2347322437613608E-2</c:v>
                </c:pt>
                <c:pt idx="6">
                  <c:v>2.4790528801785793E-2</c:v>
                </c:pt>
                <c:pt idx="7">
                  <c:v>0.12812039009766801</c:v>
                </c:pt>
                <c:pt idx="8">
                  <c:v>0.22102038676692062</c:v>
                </c:pt>
                <c:pt idx="9">
                  <c:v>7.4387689291660385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8.4379100484128458E-2</c:v>
                </c:pt>
                <c:pt idx="6">
                  <c:v>2.791801703843977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5229844271682886E-2</c:v>
                </c:pt>
                <c:pt idx="1">
                  <c:v>1.2590592051960471E-3</c:v>
                </c:pt>
                <c:pt idx="2">
                  <c:v>3.2731555461713205E-2</c:v>
                </c:pt>
                <c:pt idx="3">
                  <c:v>0.14152197984434281</c:v>
                </c:pt>
                <c:pt idx="4">
                  <c:v>0.32430501393489058</c:v>
                </c:pt>
                <c:pt idx="5">
                  <c:v>7.999615168178828E-2</c:v>
                </c:pt>
                <c:pt idx="6">
                  <c:v>9.6445642492324651E-2</c:v>
                </c:pt>
                <c:pt idx="7">
                  <c:v>0.11128880451125545</c:v>
                </c:pt>
                <c:pt idx="8">
                  <c:v>0.17753774739433337</c:v>
                </c:pt>
                <c:pt idx="9">
                  <c:v>9.2913757652238228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2.6462490913729043E-3</c:v>
                </c:pt>
                <c:pt idx="5">
                  <c:v>6.3878383003740671E-2</c:v>
                </c:pt>
                <c:pt idx="6">
                  <c:v>2.866358095839938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0096130298614627E-3</c:v>
                </c:pt>
                <c:pt idx="3">
                  <c:v>0.26864620226306141</c:v>
                </c:pt>
                <c:pt idx="4">
                  <c:v>0.24445258049451576</c:v>
                </c:pt>
                <c:pt idx="5">
                  <c:v>9.7099623144768832E-2</c:v>
                </c:pt>
                <c:pt idx="6">
                  <c:v>2.9819821017562358E-2</c:v>
                </c:pt>
                <c:pt idx="7">
                  <c:v>0.16448722706132768</c:v>
                </c:pt>
                <c:pt idx="8">
                  <c:v>0.1922824145702286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9.709188742891893E-2</c:v>
                </c:pt>
                <c:pt idx="6">
                  <c:v>1.5033118172919368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8797801642155176E-2</c:v>
                </c:pt>
                <c:pt idx="1">
                  <c:v>1.5499323616429531E-2</c:v>
                </c:pt>
                <c:pt idx="2">
                  <c:v>2.0328229017232035E-2</c:v>
                </c:pt>
                <c:pt idx="3">
                  <c:v>4.4263789690257418E-2</c:v>
                </c:pt>
                <c:pt idx="4">
                  <c:v>6.5094507892549974E-2</c:v>
                </c:pt>
                <c:pt idx="5">
                  <c:v>0.10204826864942469</c:v>
                </c:pt>
                <c:pt idx="6">
                  <c:v>0.12638325694294628</c:v>
                </c:pt>
                <c:pt idx="7">
                  <c:v>0.17605578638733341</c:v>
                </c:pt>
                <c:pt idx="8">
                  <c:v>0.25472703021903487</c:v>
                </c:pt>
                <c:pt idx="9">
                  <c:v>9.8964213929595687E-2</c:v>
                </c:pt>
                <c:pt idx="10">
                  <c:v>7.783779201304100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8452095700271858E-2</c:v>
                </c:pt>
                <c:pt idx="1">
                  <c:v>6.9038415366902443E-3</c:v>
                </c:pt>
                <c:pt idx="2">
                  <c:v>3.8993138108884502E-2</c:v>
                </c:pt>
                <c:pt idx="3">
                  <c:v>9.2885754275378318E-2</c:v>
                </c:pt>
                <c:pt idx="4">
                  <c:v>0.12661389106941554</c:v>
                </c:pt>
                <c:pt idx="5">
                  <c:v>0.14139828617238459</c:v>
                </c:pt>
                <c:pt idx="6">
                  <c:v>8.327672553420401E-2</c:v>
                </c:pt>
                <c:pt idx="7">
                  <c:v>0.25943750265456544</c:v>
                </c:pt>
                <c:pt idx="8">
                  <c:v>0.16769832304927204</c:v>
                </c:pt>
                <c:pt idx="9">
                  <c:v>5.0813195599909045E-2</c:v>
                </c:pt>
                <c:pt idx="10">
                  <c:v>3.5272462990244605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7256199349716392E-2</c:v>
                </c:pt>
                <c:pt idx="3">
                  <c:v>8.9490464544238445E-3</c:v>
                </c:pt>
                <c:pt idx="4">
                  <c:v>6.129297074432178E-3</c:v>
                </c:pt>
                <c:pt idx="5">
                  <c:v>2.4515893736835173E-2</c:v>
                </c:pt>
                <c:pt idx="6">
                  <c:v>1.5661540441294683E-2</c:v>
                </c:pt>
                <c:pt idx="7">
                  <c:v>5.1338440136598447E-2</c:v>
                </c:pt>
                <c:pt idx="8">
                  <c:v>5.778867381508910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8613377585847987E-2</c:v>
                </c:pt>
                <c:pt idx="1">
                  <c:v>1.56302030123537E-2</c:v>
                </c:pt>
                <c:pt idx="2">
                  <c:v>3.5294981321742719E-2</c:v>
                </c:pt>
                <c:pt idx="3">
                  <c:v>0.17153808610810198</c:v>
                </c:pt>
                <c:pt idx="4">
                  <c:v>0.13353047605469773</c:v>
                </c:pt>
                <c:pt idx="5">
                  <c:v>0.12917153792881839</c:v>
                </c:pt>
                <c:pt idx="6">
                  <c:v>7.2507313656684891E-2</c:v>
                </c:pt>
                <c:pt idx="7">
                  <c:v>0.21110141717184974</c:v>
                </c:pt>
                <c:pt idx="8">
                  <c:v>0.1733531988133058</c:v>
                </c:pt>
                <c:pt idx="9">
                  <c:v>1.9940538619508948E-2</c:v>
                </c:pt>
                <c:pt idx="10">
                  <c:v>9.3188697270881003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0743646429186058E-2</c:v>
                </c:pt>
                <c:pt idx="3">
                  <c:v>3.564450001734381E-2</c:v>
                </c:pt>
                <c:pt idx="4">
                  <c:v>6.3327037131317649E-3</c:v>
                </c:pt>
                <c:pt idx="5">
                  <c:v>2.5358413952695731E-2</c:v>
                </c:pt>
                <c:pt idx="6">
                  <c:v>1.714739853104838E-2</c:v>
                </c:pt>
                <c:pt idx="7">
                  <c:v>5.4161420006419936E-2</c:v>
                </c:pt>
                <c:pt idx="8">
                  <c:v>5.3248888056162243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9437627523840919E-2</c:v>
                </c:pt>
                <c:pt idx="1">
                  <c:v>1.7339094554510329E-2</c:v>
                </c:pt>
                <c:pt idx="2">
                  <c:v>4.8088716519655232E-2</c:v>
                </c:pt>
                <c:pt idx="3">
                  <c:v>0.20562364600569663</c:v>
                </c:pt>
                <c:pt idx="4">
                  <c:v>6.6748547419724566E-2</c:v>
                </c:pt>
                <c:pt idx="5">
                  <c:v>0.12200576981432011</c:v>
                </c:pt>
                <c:pt idx="6">
                  <c:v>4.6184937163428488E-2</c:v>
                </c:pt>
                <c:pt idx="7">
                  <c:v>0.2232454479683828</c:v>
                </c:pt>
                <c:pt idx="8">
                  <c:v>0.15135974545254935</c:v>
                </c:pt>
                <c:pt idx="9">
                  <c:v>8.959978013454500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4718342014114258E-4</c:v>
                </c:pt>
                <c:pt idx="1">
                  <c:v>1.7339094554510329E-2</c:v>
                </c:pt>
                <c:pt idx="2">
                  <c:v>3.0917818303169083E-2</c:v>
                </c:pt>
                <c:pt idx="5">
                  <c:v>3.7265307107165531E-2</c:v>
                </c:pt>
                <c:pt idx="6">
                  <c:v>2.8448033461384293E-2</c:v>
                </c:pt>
                <c:pt idx="7">
                  <c:v>4.4328122572103452E-2</c:v>
                </c:pt>
                <c:pt idx="8">
                  <c:v>5.5989035289387354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1.4769469987927959E-2</c:v>
                </c:pt>
                <c:pt idx="2">
                  <c:v>2.3174585769354574E-3</c:v>
                </c:pt>
                <c:pt idx="3">
                  <c:v>5.4889164840494477E-2</c:v>
                </c:pt>
                <c:pt idx="4">
                  <c:v>2.1417116059667604E-2</c:v>
                </c:pt>
                <c:pt idx="5">
                  <c:v>5.4954785824171536E-2</c:v>
                </c:pt>
                <c:pt idx="6">
                  <c:v>0.14927955263464021</c:v>
                </c:pt>
                <c:pt idx="7">
                  <c:v>0.13229106377391031</c:v>
                </c:pt>
                <c:pt idx="8">
                  <c:v>0.31299472077907142</c:v>
                </c:pt>
                <c:pt idx="9">
                  <c:v>0.14351243301228028</c:v>
                </c:pt>
                <c:pt idx="10">
                  <c:v>0.1132490185854586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9.5278616817271906E-3</c:v>
                </c:pt>
                <c:pt idx="4">
                  <c:v>1.594827612528732E-3</c:v>
                </c:pt>
                <c:pt idx="5">
                  <c:v>7.1509014008266014E-3</c:v>
                </c:pt>
                <c:pt idx="6">
                  <c:v>2.6931181094080954E-3</c:v>
                </c:pt>
                <c:pt idx="7">
                  <c:v>6.8503991937746483E-3</c:v>
                </c:pt>
                <c:pt idx="8">
                  <c:v>2.8598150772591348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2.4908400446714014E-3</c:v>
                </c:pt>
                <c:pt idx="7">
                  <c:v>1.8803708507033347E-3</c:v>
                </c:pt>
                <c:pt idx="8">
                  <c:v>4.3692749259969721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0921024996954196E-3</c:v>
                </c:pt>
                <c:pt idx="1">
                  <c:v>2.2013794513369753E-2</c:v>
                </c:pt>
                <c:pt idx="2">
                  <c:v>6.0164729451450899E-3</c:v>
                </c:pt>
                <c:pt idx="3">
                  <c:v>5.9948371208162959E-2</c:v>
                </c:pt>
                <c:pt idx="4">
                  <c:v>2.3502461461467141E-2</c:v>
                </c:pt>
                <c:pt idx="5">
                  <c:v>7.9254515665220515E-2</c:v>
                </c:pt>
                <c:pt idx="6">
                  <c:v>0.10057809753875298</c:v>
                </c:pt>
                <c:pt idx="7">
                  <c:v>0.25267661121730906</c:v>
                </c:pt>
                <c:pt idx="8">
                  <c:v>0.2504997063205352</c:v>
                </c:pt>
                <c:pt idx="9">
                  <c:v>0.15719468225499186</c:v>
                </c:pt>
                <c:pt idx="10">
                  <c:v>4.722318437535000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4.5806044136491907E-3</c:v>
                </c:pt>
                <c:pt idx="7">
                  <c:v>6.3101836833592551E-3</c:v>
                </c:pt>
                <c:pt idx="8">
                  <c:v>3.254666313604992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4.4185496993801796E-3</c:v>
                </c:pt>
                <c:pt idx="2">
                  <c:v>5.8867511383563064E-3</c:v>
                </c:pt>
                <c:pt idx="3">
                  <c:v>7.5681685289260239E-2</c:v>
                </c:pt>
                <c:pt idx="4">
                  <c:v>2.5426936831280101E-2</c:v>
                </c:pt>
                <c:pt idx="5">
                  <c:v>9.4771840334443316E-2</c:v>
                </c:pt>
                <c:pt idx="6">
                  <c:v>0.12889598069765412</c:v>
                </c:pt>
                <c:pt idx="7">
                  <c:v>0.13425471229470909</c:v>
                </c:pt>
                <c:pt idx="8">
                  <c:v>0.32909591222530005</c:v>
                </c:pt>
                <c:pt idx="9">
                  <c:v>0.10836522028352405</c:v>
                </c:pt>
                <c:pt idx="10">
                  <c:v>9.2817697572310995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3.1474044080606668E-3</c:v>
                </c:pt>
                <c:pt idx="8">
                  <c:v>4.8850095863716423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4184151077648034E-3</c:v>
                </c:pt>
                <c:pt idx="1">
                  <c:v>1.2433173216472356E-2</c:v>
                </c:pt>
                <c:pt idx="2">
                  <c:v>1.6653419563341498E-2</c:v>
                </c:pt>
                <c:pt idx="3">
                  <c:v>4.528856379315839E-2</c:v>
                </c:pt>
                <c:pt idx="4">
                  <c:v>6.0469880502980883E-2</c:v>
                </c:pt>
                <c:pt idx="5">
                  <c:v>6.8046692315063287E-2</c:v>
                </c:pt>
                <c:pt idx="6">
                  <c:v>0.10564996279910281</c:v>
                </c:pt>
                <c:pt idx="7">
                  <c:v>0.20914003576282761</c:v>
                </c:pt>
                <c:pt idx="8">
                  <c:v>0.18189208301942128</c:v>
                </c:pt>
                <c:pt idx="9">
                  <c:v>5.0891551137366327E-2</c:v>
                </c:pt>
                <c:pt idx="10">
                  <c:v>0.2431162227825007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2664777716174216E-2</c:v>
                </c:pt>
                <c:pt idx="1">
                  <c:v>1.455215005945285E-2</c:v>
                </c:pt>
                <c:pt idx="2">
                  <c:v>3.1793157987583059E-2</c:v>
                </c:pt>
                <c:pt idx="3">
                  <c:v>4.8197250418922831E-2</c:v>
                </c:pt>
                <c:pt idx="4">
                  <c:v>3.6172401739128744E-2</c:v>
                </c:pt>
                <c:pt idx="5">
                  <c:v>0.10756737889583759</c:v>
                </c:pt>
                <c:pt idx="6">
                  <c:v>0.1437797360274827</c:v>
                </c:pt>
                <c:pt idx="7">
                  <c:v>0.16541094068946494</c:v>
                </c:pt>
                <c:pt idx="8">
                  <c:v>0.17248314445239338</c:v>
                </c:pt>
                <c:pt idx="9">
                  <c:v>0.20438488641867086</c:v>
                </c:pt>
                <c:pt idx="10">
                  <c:v>6.2994175594888818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233788397141476E-3</c:v>
                </c:pt>
                <c:pt idx="1">
                  <c:v>3.9175222582530523E-3</c:v>
                </c:pt>
                <c:pt idx="2">
                  <c:v>2.0573970079543279E-2</c:v>
                </c:pt>
                <c:pt idx="3">
                  <c:v>9.2174349105215783E-2</c:v>
                </c:pt>
                <c:pt idx="4">
                  <c:v>2.4063880146346323E-2</c:v>
                </c:pt>
                <c:pt idx="5">
                  <c:v>8.1603425497824275E-2</c:v>
                </c:pt>
                <c:pt idx="6">
                  <c:v>0.12296985512425648</c:v>
                </c:pt>
                <c:pt idx="7">
                  <c:v>0.20932020763186437</c:v>
                </c:pt>
                <c:pt idx="8">
                  <c:v>0.14848773889644468</c:v>
                </c:pt>
                <c:pt idx="9">
                  <c:v>0.13344545786542819</c:v>
                </c:pt>
                <c:pt idx="10">
                  <c:v>0.1593202145551093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933771819624458E-2</c:v>
                </c:pt>
                <c:pt idx="1">
                  <c:v>2.1306896673764057E-2</c:v>
                </c:pt>
                <c:pt idx="2">
                  <c:v>2.5548831278795543E-2</c:v>
                </c:pt>
                <c:pt idx="3">
                  <c:v>5.7767970366862181E-2</c:v>
                </c:pt>
                <c:pt idx="4">
                  <c:v>7.3278076667783243E-2</c:v>
                </c:pt>
                <c:pt idx="5">
                  <c:v>0.11719239595450313</c:v>
                </c:pt>
                <c:pt idx="6">
                  <c:v>0.13363631496397968</c:v>
                </c:pt>
                <c:pt idx="7">
                  <c:v>0.18577181469164547</c:v>
                </c:pt>
                <c:pt idx="8">
                  <c:v>0.2060222230819663</c:v>
                </c:pt>
                <c:pt idx="9">
                  <c:v>0.13022682695731488</c:v>
                </c:pt>
                <c:pt idx="10">
                  <c:v>2.5314877543761053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233413980241707E-2</c:v>
                </c:pt>
                <c:pt idx="1">
                  <c:v>1.8516038253045788E-2</c:v>
                </c:pt>
                <c:pt idx="2">
                  <c:v>1.0825272627964894E-2</c:v>
                </c:pt>
                <c:pt idx="3">
                  <c:v>1.3085022230190355E-2</c:v>
                </c:pt>
                <c:pt idx="4">
                  <c:v>2.27156576849857E-2</c:v>
                </c:pt>
                <c:pt idx="5">
                  <c:v>0.15241475836441309</c:v>
                </c:pt>
                <c:pt idx="6">
                  <c:v>0.1326046133269137</c:v>
                </c:pt>
                <c:pt idx="7">
                  <c:v>0.14706949062230559</c:v>
                </c:pt>
                <c:pt idx="8">
                  <c:v>0.27489550926231998</c:v>
                </c:pt>
                <c:pt idx="9">
                  <c:v>0.18418147748810215</c:v>
                </c:pt>
                <c:pt idx="10">
                  <c:v>2.135802033734167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9772656352017654E-2</c:v>
                </c:pt>
                <c:pt idx="1">
                  <c:v>2.3212152827471175E-2</c:v>
                </c:pt>
                <c:pt idx="2">
                  <c:v>9.5276320472047864E-3</c:v>
                </c:pt>
                <c:pt idx="3">
                  <c:v>2.0834565919059692E-2</c:v>
                </c:pt>
                <c:pt idx="4">
                  <c:v>5.6280952496327266E-2</c:v>
                </c:pt>
                <c:pt idx="5">
                  <c:v>0.14858554007140798</c:v>
                </c:pt>
                <c:pt idx="6">
                  <c:v>0.13431405689832426</c:v>
                </c:pt>
                <c:pt idx="7">
                  <c:v>0.17459164325638371</c:v>
                </c:pt>
                <c:pt idx="8">
                  <c:v>0.24859878263049723</c:v>
                </c:pt>
                <c:pt idx="9">
                  <c:v>0.15784269013818414</c:v>
                </c:pt>
                <c:pt idx="10">
                  <c:v>6.4393273631220939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180570518301911E-2</c:v>
                </c:pt>
                <c:pt idx="1">
                  <c:v>7.1787501568152164E-3</c:v>
                </c:pt>
                <c:pt idx="2">
                  <c:v>7.4170086151862345E-3</c:v>
                </c:pt>
                <c:pt idx="3">
                  <c:v>1.2870735468148011E-2</c:v>
                </c:pt>
                <c:pt idx="4">
                  <c:v>6.6308669366560491E-2</c:v>
                </c:pt>
                <c:pt idx="5">
                  <c:v>0.16040717619239409</c:v>
                </c:pt>
                <c:pt idx="6">
                  <c:v>0.13239687151562307</c:v>
                </c:pt>
                <c:pt idx="7">
                  <c:v>0.17333995418547299</c:v>
                </c:pt>
                <c:pt idx="8">
                  <c:v>0.20746469137783646</c:v>
                </c:pt>
                <c:pt idx="9">
                  <c:v>0.13202397008973621</c:v>
                </c:pt>
                <c:pt idx="10">
                  <c:v>6.878646784920812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3951101757598065E-2</c:v>
                </c:pt>
                <c:pt idx="1">
                  <c:v>2.171650644987758E-2</c:v>
                </c:pt>
                <c:pt idx="2">
                  <c:v>4.1399587782975131E-2</c:v>
                </c:pt>
                <c:pt idx="3">
                  <c:v>2.1668009689674434E-2</c:v>
                </c:pt>
                <c:pt idx="4">
                  <c:v>5.2557201124251975E-2</c:v>
                </c:pt>
                <c:pt idx="5">
                  <c:v>6.3701696813512995E-2</c:v>
                </c:pt>
                <c:pt idx="6">
                  <c:v>0.13085829476746524</c:v>
                </c:pt>
                <c:pt idx="7">
                  <c:v>0.17790741654622319</c:v>
                </c:pt>
                <c:pt idx="8">
                  <c:v>0.38182493017031233</c:v>
                </c:pt>
                <c:pt idx="9">
                  <c:v>7.1585046101095867E-2</c:v>
                </c:pt>
                <c:pt idx="10">
                  <c:v>2.8302087970132738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6578369953938744E-2</c:v>
                </c:pt>
                <c:pt idx="1">
                  <c:v>3.9748049335277487E-2</c:v>
                </c:pt>
                <c:pt idx="2">
                  <c:v>3.6152583544337209E-2</c:v>
                </c:pt>
                <c:pt idx="3">
                  <c:v>2.5469849750860748E-2</c:v>
                </c:pt>
                <c:pt idx="4">
                  <c:v>6.4813880382745381E-2</c:v>
                </c:pt>
                <c:pt idx="5">
                  <c:v>8.5197700245182306E-2</c:v>
                </c:pt>
                <c:pt idx="6">
                  <c:v>0.17447621527054127</c:v>
                </c:pt>
                <c:pt idx="7">
                  <c:v>0.20259246306990594</c:v>
                </c:pt>
                <c:pt idx="8">
                  <c:v>0.20923515941614845</c:v>
                </c:pt>
                <c:pt idx="9">
                  <c:v>0.10072276476360653</c:v>
                </c:pt>
                <c:pt idx="10">
                  <c:v>5.0129642674558942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4/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4/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4/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4/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4/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4/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8" Type="http://schemas.openxmlformats.org/officeDocument/2006/relationships/chart" Target="../charts/chart29.xml"/><Relationship Id="rId3" Type="http://schemas.openxmlformats.org/officeDocument/2006/relationships/notesSlide" Target="../notesSlides/notesSlide10.xml"/><Relationship Id="rId7" Type="http://schemas.openxmlformats.org/officeDocument/2006/relationships/chart" Target="../charts/chart28.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3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chart" Target="../charts/chart32.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8" Type="http://schemas.openxmlformats.org/officeDocument/2006/relationships/chart" Target="../charts/chart35.xml"/><Relationship Id="rId3" Type="http://schemas.openxmlformats.org/officeDocument/2006/relationships/notesSlide" Target="../notesSlides/notesSlide12.xml"/><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36.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chart" Target="../charts/chart38.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xml.rels><?xml version="1.0" encoding="UTF-8" standalone="yes"?>
<Relationships xmlns="http://schemas.openxmlformats.org/package/2006/relationships"><Relationship Id="rId8" Type="http://schemas.openxmlformats.org/officeDocument/2006/relationships/chart" Target="../charts/chart41.xml"/><Relationship Id="rId3" Type="http://schemas.openxmlformats.org/officeDocument/2006/relationships/notesSlide" Target="../notesSlides/notesSlide14.xml"/><Relationship Id="rId7" Type="http://schemas.openxmlformats.org/officeDocument/2006/relationships/chart" Target="../charts/chart40.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3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4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chart" Target="../charts/chart44.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xml.rels><?xml version="1.0" encoding="UTF-8" standalone="yes"?>
<Relationships xmlns="http://schemas.openxmlformats.org/package/2006/relationships"><Relationship Id="rId8" Type="http://schemas.openxmlformats.org/officeDocument/2006/relationships/chart" Target="../charts/chart47.xml"/><Relationship Id="rId3" Type="http://schemas.openxmlformats.org/officeDocument/2006/relationships/notesSlide" Target="../notesSlides/notesSlide16.xml"/><Relationship Id="rId7" Type="http://schemas.openxmlformats.org/officeDocument/2006/relationships/chart" Target="../charts/chart46.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48.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chart" Target="../charts/chart50.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notesSlide" Target="../notesSlides/notesSlide18.xml"/><Relationship Id="rId7" Type="http://schemas.openxmlformats.org/officeDocument/2006/relationships/chart" Target="../charts/chart52.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54.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chart" Target="../charts/chart56.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notesSlide" Target="../notesSlides/notesSlide2.xml"/><Relationship Id="rId7" Type="http://schemas.openxmlformats.org/officeDocument/2006/relationships/chart" Target="../charts/chart4.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xml"/></Relationships>
</file>

<file path=ppt/slides/_rels/slide20.xml.rels><?xml version="1.0" encoding="UTF-8" standalone="yes"?>
<Relationships xmlns="http://schemas.openxmlformats.org/package/2006/relationships"><Relationship Id="rId8" Type="http://schemas.openxmlformats.org/officeDocument/2006/relationships/chart" Target="../charts/chart59.xml"/><Relationship Id="rId3" Type="http://schemas.openxmlformats.org/officeDocument/2006/relationships/notesSlide" Target="../notesSlides/notesSlide20.xml"/><Relationship Id="rId7" Type="http://schemas.openxmlformats.org/officeDocument/2006/relationships/chart" Target="../charts/chart58.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0.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chart" Target="../charts/chart62.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xml.rels><?xml version="1.0" encoding="UTF-8" standalone="yes"?>
<Relationships xmlns="http://schemas.openxmlformats.org/package/2006/relationships"><Relationship Id="rId8" Type="http://schemas.openxmlformats.org/officeDocument/2006/relationships/chart" Target="../charts/chart65.xml"/><Relationship Id="rId3" Type="http://schemas.openxmlformats.org/officeDocument/2006/relationships/notesSlide" Target="../notesSlides/notesSlide22.xml"/><Relationship Id="rId7" Type="http://schemas.openxmlformats.org/officeDocument/2006/relationships/chart" Target="../charts/chart64.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6.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chart" Target="../charts/chart68.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8" Type="http://schemas.openxmlformats.org/officeDocument/2006/relationships/chart" Target="../charts/chart71.xml"/><Relationship Id="rId3" Type="http://schemas.openxmlformats.org/officeDocument/2006/relationships/notesSlide" Target="../notesSlides/notesSlide24.xml"/><Relationship Id="rId7" Type="http://schemas.openxmlformats.org/officeDocument/2006/relationships/chart" Target="../charts/chart70.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6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72.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chart" Target="../charts/chart74.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xml.rels><?xml version="1.0" encoding="UTF-8" standalone="yes"?>
<Relationships xmlns="http://schemas.openxmlformats.org/package/2006/relationships"><Relationship Id="rId8" Type="http://schemas.openxmlformats.org/officeDocument/2006/relationships/chart" Target="../charts/chart77.xml"/><Relationship Id="rId3" Type="http://schemas.openxmlformats.org/officeDocument/2006/relationships/notesSlide" Target="../notesSlides/notesSlide26.xml"/><Relationship Id="rId7" Type="http://schemas.openxmlformats.org/officeDocument/2006/relationships/chart" Target="../charts/chart76.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78.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chart" Target="../charts/chart80.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8" Type="http://schemas.openxmlformats.org/officeDocument/2006/relationships/chart" Target="../charts/chart83.xml"/><Relationship Id="rId3" Type="http://schemas.openxmlformats.org/officeDocument/2006/relationships/notesSlide" Target="../notesSlides/notesSlide28.xml"/><Relationship Id="rId7" Type="http://schemas.openxmlformats.org/officeDocument/2006/relationships/chart" Target="../charts/chart82.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84.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chart" Target="../charts/chart86.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chart" Target="../charts/chart8.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8" Type="http://schemas.openxmlformats.org/officeDocument/2006/relationships/chart" Target="../charts/chart89.xml"/><Relationship Id="rId3" Type="http://schemas.openxmlformats.org/officeDocument/2006/relationships/notesSlide" Target="../notesSlides/notesSlide30.xml"/><Relationship Id="rId7" Type="http://schemas.openxmlformats.org/officeDocument/2006/relationships/chart" Target="../charts/chart88.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90.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chart" Target="../charts/chart92.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xml.rels><?xml version="1.0" encoding="UTF-8" standalone="yes"?>
<Relationships xmlns="http://schemas.openxmlformats.org/package/2006/relationships"><Relationship Id="rId8" Type="http://schemas.openxmlformats.org/officeDocument/2006/relationships/chart" Target="../charts/chart95.xml"/><Relationship Id="rId3" Type="http://schemas.openxmlformats.org/officeDocument/2006/relationships/notesSlide" Target="../notesSlides/notesSlide32.xml"/><Relationship Id="rId7" Type="http://schemas.openxmlformats.org/officeDocument/2006/relationships/chart" Target="../charts/chart94.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96.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chart" Target="../charts/chart98.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xml.rels><?xml version="1.0" encoding="UTF-8" standalone="yes"?>
<Relationships xmlns="http://schemas.openxmlformats.org/package/2006/relationships"><Relationship Id="rId8" Type="http://schemas.openxmlformats.org/officeDocument/2006/relationships/chart" Target="../charts/chart101.xml"/><Relationship Id="rId3" Type="http://schemas.openxmlformats.org/officeDocument/2006/relationships/notesSlide" Target="../notesSlides/notesSlide34.xml"/><Relationship Id="rId7" Type="http://schemas.openxmlformats.org/officeDocument/2006/relationships/chart" Target="../charts/chart100.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9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02.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chart" Target="../charts/chart104.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xml.rels><?xml version="1.0" encoding="UTF-8" standalone="yes"?>
<Relationships xmlns="http://schemas.openxmlformats.org/package/2006/relationships"><Relationship Id="rId8" Type="http://schemas.openxmlformats.org/officeDocument/2006/relationships/chart" Target="../charts/chart107.xml"/><Relationship Id="rId3" Type="http://schemas.openxmlformats.org/officeDocument/2006/relationships/notesSlide" Target="../notesSlides/notesSlide36.xml"/><Relationship Id="rId7" Type="http://schemas.openxmlformats.org/officeDocument/2006/relationships/chart" Target="../charts/chart106.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08.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chart" Target="../charts/chart110.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xml.rels><?xml version="1.0" encoding="UTF-8" standalone="yes"?>
<Relationships xmlns="http://schemas.openxmlformats.org/package/2006/relationships"><Relationship Id="rId8" Type="http://schemas.openxmlformats.org/officeDocument/2006/relationships/chart" Target="../charts/chart113.xml"/><Relationship Id="rId3" Type="http://schemas.openxmlformats.org/officeDocument/2006/relationships/notesSlide" Target="../notesSlides/notesSlide38.xml"/><Relationship Id="rId7" Type="http://schemas.openxmlformats.org/officeDocument/2006/relationships/chart" Target="../charts/chart112.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1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14.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chart" Target="../charts/chart116.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notesSlide" Target="../notesSlides/notesSlide4.xml"/><Relationship Id="rId7"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xml"/></Relationships>
</file>

<file path=ppt/slides/_rels/slide40.xml.rels><?xml version="1.0" encoding="UTF-8" standalone="yes"?>
<Relationships xmlns="http://schemas.openxmlformats.org/package/2006/relationships"><Relationship Id="rId8" Type="http://schemas.openxmlformats.org/officeDocument/2006/relationships/chart" Target="../charts/chart119.xml"/><Relationship Id="rId3" Type="http://schemas.openxmlformats.org/officeDocument/2006/relationships/notesSlide" Target="../notesSlides/notesSlide40.xml"/><Relationship Id="rId7" Type="http://schemas.openxmlformats.org/officeDocument/2006/relationships/chart" Target="../charts/chart118.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1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0.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chart" Target="../charts/chart122.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xml.rels><?xml version="1.0" encoding="UTF-8" standalone="yes"?>
<Relationships xmlns="http://schemas.openxmlformats.org/package/2006/relationships"><Relationship Id="rId8" Type="http://schemas.openxmlformats.org/officeDocument/2006/relationships/chart" Target="../charts/chart125.xml"/><Relationship Id="rId3" Type="http://schemas.openxmlformats.org/officeDocument/2006/relationships/notesSlide" Target="../notesSlides/notesSlide42.xml"/><Relationship Id="rId7" Type="http://schemas.openxmlformats.org/officeDocument/2006/relationships/chart" Target="../charts/chart124.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2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6.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chart" Target="../charts/chart128.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xml.rels><?xml version="1.0" encoding="UTF-8" standalone="yes"?>
<Relationships xmlns="http://schemas.openxmlformats.org/package/2006/relationships"><Relationship Id="rId8" Type="http://schemas.openxmlformats.org/officeDocument/2006/relationships/chart" Target="../charts/chart131.xml"/><Relationship Id="rId3" Type="http://schemas.openxmlformats.org/officeDocument/2006/relationships/notesSlide" Target="../notesSlides/notesSlide44.xml"/><Relationship Id="rId7" Type="http://schemas.openxmlformats.org/officeDocument/2006/relationships/chart" Target="../charts/chart130.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2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32.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chart" Target="../charts/chart134.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xml.rels><?xml version="1.0" encoding="UTF-8" standalone="yes"?>
<Relationships xmlns="http://schemas.openxmlformats.org/package/2006/relationships"><Relationship Id="rId8" Type="http://schemas.openxmlformats.org/officeDocument/2006/relationships/chart" Target="../charts/chart137.xml"/><Relationship Id="rId3" Type="http://schemas.openxmlformats.org/officeDocument/2006/relationships/notesSlide" Target="../notesSlides/notesSlide46.xml"/><Relationship Id="rId7" Type="http://schemas.openxmlformats.org/officeDocument/2006/relationships/chart" Target="../charts/chart136.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3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38.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chart" Target="../charts/chart140.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xml.rels><?xml version="1.0" encoding="UTF-8" standalone="yes"?>
<Relationships xmlns="http://schemas.openxmlformats.org/package/2006/relationships"><Relationship Id="rId8" Type="http://schemas.openxmlformats.org/officeDocument/2006/relationships/chart" Target="../charts/chart143.xml"/><Relationship Id="rId3" Type="http://schemas.openxmlformats.org/officeDocument/2006/relationships/notesSlide" Target="../notesSlides/notesSlide48.xml"/><Relationship Id="rId7" Type="http://schemas.openxmlformats.org/officeDocument/2006/relationships/chart" Target="../charts/chart142.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4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44.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chart" Target="../charts/chart146.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14.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xml.rels><?xml version="1.0" encoding="UTF-8" standalone="yes"?>
<Relationships xmlns="http://schemas.openxmlformats.org/package/2006/relationships"><Relationship Id="rId8" Type="http://schemas.openxmlformats.org/officeDocument/2006/relationships/chart" Target="../charts/chart149.xml"/><Relationship Id="rId3" Type="http://schemas.openxmlformats.org/officeDocument/2006/relationships/notesSlide" Target="../notesSlides/notesSlide50.xml"/><Relationship Id="rId7" Type="http://schemas.openxmlformats.org/officeDocument/2006/relationships/chart" Target="../charts/chart148.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4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50.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7" Type="http://schemas.openxmlformats.org/officeDocument/2006/relationships/chart" Target="../charts/chart152.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xml.rels><?xml version="1.0" encoding="UTF-8" standalone="yes"?>
<Relationships xmlns="http://schemas.openxmlformats.org/package/2006/relationships"><Relationship Id="rId8" Type="http://schemas.openxmlformats.org/officeDocument/2006/relationships/chart" Target="../charts/chart155.xml"/><Relationship Id="rId3" Type="http://schemas.openxmlformats.org/officeDocument/2006/relationships/notesSlide" Target="../notesSlides/notesSlide52.xml"/><Relationship Id="rId7" Type="http://schemas.openxmlformats.org/officeDocument/2006/relationships/chart" Target="../charts/chart154.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5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56.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7" Type="http://schemas.openxmlformats.org/officeDocument/2006/relationships/chart" Target="../charts/chart158.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xml.rels><?xml version="1.0" encoding="UTF-8" standalone="yes"?>
<Relationships xmlns="http://schemas.openxmlformats.org/package/2006/relationships"><Relationship Id="rId8" Type="http://schemas.openxmlformats.org/officeDocument/2006/relationships/chart" Target="../charts/chart161.xml"/><Relationship Id="rId3" Type="http://schemas.openxmlformats.org/officeDocument/2006/relationships/notesSlide" Target="../notesSlides/notesSlide54.xml"/><Relationship Id="rId7" Type="http://schemas.openxmlformats.org/officeDocument/2006/relationships/chart" Target="../charts/chart160.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5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62.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chart" Target="../charts/chart164.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xml.rels><?xml version="1.0" encoding="UTF-8" standalone="yes"?>
<Relationships xmlns="http://schemas.openxmlformats.org/package/2006/relationships"><Relationship Id="rId8" Type="http://schemas.openxmlformats.org/officeDocument/2006/relationships/chart" Target="../charts/chart167.xml"/><Relationship Id="rId3" Type="http://schemas.openxmlformats.org/officeDocument/2006/relationships/notesSlide" Target="../notesSlides/notesSlide56.xml"/><Relationship Id="rId7" Type="http://schemas.openxmlformats.org/officeDocument/2006/relationships/chart" Target="../charts/chart166.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6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68.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7" Type="http://schemas.openxmlformats.org/officeDocument/2006/relationships/chart" Target="../charts/chart170.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xml.rels><?xml version="1.0" encoding="UTF-8" standalone="yes"?>
<Relationships xmlns="http://schemas.openxmlformats.org/package/2006/relationships"><Relationship Id="rId8" Type="http://schemas.openxmlformats.org/officeDocument/2006/relationships/chart" Target="../charts/chart173.xml"/><Relationship Id="rId3" Type="http://schemas.openxmlformats.org/officeDocument/2006/relationships/notesSlide" Target="../notesSlides/notesSlide58.xml"/><Relationship Id="rId7" Type="http://schemas.openxmlformats.org/officeDocument/2006/relationships/chart" Target="../charts/chart172.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7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74.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7" Type="http://schemas.openxmlformats.org/officeDocument/2006/relationships/chart" Target="../charts/chart176.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8" Type="http://schemas.openxmlformats.org/officeDocument/2006/relationships/chart" Target="../charts/chart17.xml"/><Relationship Id="rId3" Type="http://schemas.openxmlformats.org/officeDocument/2006/relationships/notesSlide" Target="../notesSlides/notesSlide6.xml"/><Relationship Id="rId7" Type="http://schemas.openxmlformats.org/officeDocument/2006/relationships/chart" Target="../charts/chart16.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xml"/></Relationships>
</file>

<file path=ppt/slides/_rels/slide60.xml.rels><?xml version="1.0" encoding="UTF-8" standalone="yes"?>
<Relationships xmlns="http://schemas.openxmlformats.org/package/2006/relationships"><Relationship Id="rId8" Type="http://schemas.openxmlformats.org/officeDocument/2006/relationships/chart" Target="../charts/chart179.xml"/><Relationship Id="rId3" Type="http://schemas.openxmlformats.org/officeDocument/2006/relationships/notesSlide" Target="../notesSlides/notesSlide60.xml"/><Relationship Id="rId7" Type="http://schemas.openxmlformats.org/officeDocument/2006/relationships/chart" Target="../charts/chart178.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7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0.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7" Type="http://schemas.openxmlformats.org/officeDocument/2006/relationships/chart" Target="../charts/chart182.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xml.rels><?xml version="1.0" encoding="UTF-8" standalone="yes"?>
<Relationships xmlns="http://schemas.openxmlformats.org/package/2006/relationships"><Relationship Id="rId8" Type="http://schemas.openxmlformats.org/officeDocument/2006/relationships/chart" Target="../charts/chart185.xml"/><Relationship Id="rId3" Type="http://schemas.openxmlformats.org/officeDocument/2006/relationships/notesSlide" Target="../notesSlides/notesSlide62.xml"/><Relationship Id="rId7" Type="http://schemas.openxmlformats.org/officeDocument/2006/relationships/chart" Target="../charts/chart184.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8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6.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7" Type="http://schemas.openxmlformats.org/officeDocument/2006/relationships/chart" Target="../charts/chart188.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xml.rels><?xml version="1.0" encoding="UTF-8" standalone="yes"?>
<Relationships xmlns="http://schemas.openxmlformats.org/package/2006/relationships"><Relationship Id="rId8" Type="http://schemas.openxmlformats.org/officeDocument/2006/relationships/chart" Target="../charts/chart191.xml"/><Relationship Id="rId3" Type="http://schemas.openxmlformats.org/officeDocument/2006/relationships/notesSlide" Target="../notesSlides/notesSlide64.xml"/><Relationship Id="rId7" Type="http://schemas.openxmlformats.org/officeDocument/2006/relationships/chart" Target="../charts/chart190.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8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92.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7" Type="http://schemas.openxmlformats.org/officeDocument/2006/relationships/chart" Target="../charts/chart194.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xml.rels><?xml version="1.0" encoding="UTF-8" standalone="yes"?>
<Relationships xmlns="http://schemas.openxmlformats.org/package/2006/relationships"><Relationship Id="rId8" Type="http://schemas.openxmlformats.org/officeDocument/2006/relationships/chart" Target="../charts/chart197.xml"/><Relationship Id="rId3" Type="http://schemas.openxmlformats.org/officeDocument/2006/relationships/notesSlide" Target="../notesSlides/notesSlide66.xml"/><Relationship Id="rId7" Type="http://schemas.openxmlformats.org/officeDocument/2006/relationships/chart" Target="../charts/chart196.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9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98.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20.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xml.rels><?xml version="1.0" encoding="UTF-8" standalone="yes"?>
<Relationships xmlns="http://schemas.openxmlformats.org/package/2006/relationships"><Relationship Id="rId8" Type="http://schemas.openxmlformats.org/officeDocument/2006/relationships/chart" Target="../charts/chart23.xml"/><Relationship Id="rId3" Type="http://schemas.openxmlformats.org/officeDocument/2006/relationships/notesSlide" Target="../notesSlides/notesSlide8.xml"/><Relationship Id="rId7" Type="http://schemas.openxmlformats.org/officeDocument/2006/relationships/chart" Target="../charts/chart22.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2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26.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5.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102101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4105565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305199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920902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305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9335254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918570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7434746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414958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255688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468260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2962583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919935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292105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196930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5519322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2040100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928585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5160115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4122246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16087686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489391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3074722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4177350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3158574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1107896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0043506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18001805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994365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38469321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14990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79075836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265846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527676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76379715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0445371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4139272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5369179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25710454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5018605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52758849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9494831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56315133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746741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1769937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32717281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548503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87887364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1648730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40758274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7799675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86891546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6640982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69814421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479976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0583717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1185940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5502246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0039644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8792965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34965360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2206059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995615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174707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1559298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965421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2.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9</TotalTime>
  <Words>5555</Words>
  <Application>Microsoft Office PowerPoint</Application>
  <PresentationFormat>On-screen Show (16:9)</PresentationFormat>
  <Paragraphs>1720</Paragraphs>
  <Slides>66</Slides>
  <Notes>6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66</vt:i4>
      </vt:variant>
    </vt:vector>
  </HeadingPairs>
  <TitlesOfParts>
    <vt:vector size="77"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7</cp:revision>
  <dcterms:created xsi:type="dcterms:W3CDTF">2024-07-05T11:30:58Z</dcterms:created>
  <dcterms:modified xsi:type="dcterms:W3CDTF">2025-09-14T07:13: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